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3.xml" ContentType="application/vnd.openxmlformats-officedocument.theme+xml"/>
  <Override PartName="/ppt/slideLayouts/slideLayout6.xml" ContentType="application/vnd.openxmlformats-officedocument.presentationml.slideLayout+xml"/>
  <Override PartName="/ppt/theme/theme4.xml" ContentType="application/vnd.openxmlformats-officedocument.theme+xml"/>
  <Override PartName="/ppt/slideLayouts/slideLayout7.xml" ContentType="application/vnd.openxmlformats-officedocument.presentationml.slideLayout+xml"/>
  <Override PartName="/ppt/theme/theme5.xml" ContentType="application/vnd.openxmlformats-officedocument.theme+xml"/>
  <Override PartName="/ppt/slideLayouts/slideLayout8.xml" ContentType="application/vnd.openxmlformats-officedocument.presentationml.slideLayout+xml"/>
  <Override PartName="/ppt/theme/theme6.xml" ContentType="application/vnd.openxmlformats-officedocument.theme+xml"/>
  <Override PartName="/ppt/slideLayouts/slideLayout9.xml" ContentType="application/vnd.openxmlformats-officedocument.presentationml.slideLayout+xml"/>
  <Override PartName="/ppt/theme/theme7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8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9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10.xml" ContentType="application/vnd.openxmlformats-officedocument.theme+xml"/>
  <Override PartName="/ppt/slideLayouts/slideLayout32.xml" ContentType="application/vnd.openxmlformats-officedocument.presentationml.slideLayout+xml"/>
  <Override PartName="/ppt/theme/theme11.xml" ContentType="application/vnd.openxmlformats-officedocument.theme+xml"/>
  <Override PartName="/ppt/theme/theme1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8" r:id="rId1"/>
    <p:sldMasterId id="2147483653" r:id="rId2"/>
    <p:sldMasterId id="2147483659" r:id="rId3"/>
    <p:sldMasterId id="2147483745" r:id="rId4"/>
    <p:sldMasterId id="2147483757" r:id="rId5"/>
    <p:sldMasterId id="2147483784" r:id="rId6"/>
    <p:sldMasterId id="2147483787" r:id="rId7"/>
    <p:sldMasterId id="2147483790" r:id="rId8"/>
    <p:sldMasterId id="2147483799" r:id="rId9"/>
    <p:sldMasterId id="2147483804" r:id="rId10"/>
    <p:sldMasterId id="2147483816" r:id="rId11"/>
  </p:sldMasterIdLst>
  <p:notesMasterIdLst>
    <p:notesMasterId r:id="rId13"/>
  </p:notesMasterIdLst>
  <p:sldIdLst>
    <p:sldId id="429" r:id="rId1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567">
          <p15:clr>
            <a:srgbClr val="A4A3A4"/>
          </p15:clr>
        </p15:guide>
        <p15:guide id="3" pos="3515">
          <p15:clr>
            <a:srgbClr val="A4A3A4"/>
          </p15:clr>
        </p15:guide>
        <p15:guide id="4" orient="horz" pos="2840">
          <p15:clr>
            <a:srgbClr val="A4A3A4"/>
          </p15:clr>
        </p15:guide>
        <p15:guide id="5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FDFDF"/>
    <a:srgbClr val="33CCCC"/>
    <a:srgbClr val="FFFF00"/>
    <a:srgbClr val="00FF99"/>
    <a:srgbClr val="FF6633"/>
    <a:srgbClr val="990099"/>
    <a:srgbClr val="009933"/>
    <a:srgbClr val="999933"/>
    <a:srgbClr val="993300"/>
    <a:srgbClr val="6633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01" autoAdjust="0"/>
    <p:restoredTop sz="94671" autoAdjust="0"/>
  </p:normalViewPr>
  <p:slideViewPr>
    <p:cSldViewPr showGuides="1">
      <p:cViewPr varScale="1">
        <p:scale>
          <a:sx n="78" d="100"/>
          <a:sy n="78" d="100"/>
        </p:scale>
        <p:origin x="-254" y="-72"/>
      </p:cViewPr>
      <p:guideLst>
        <p:guide orient="horz" pos="2160"/>
        <p:guide orient="horz" pos="2840"/>
        <p:guide pos="567"/>
        <p:guide pos="3515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5" Type="http://schemas.openxmlformats.org/officeDocument/2006/relationships/slideMaster" Target="slideMasters/slideMaster5.xml"/><Relationship Id="rId15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BD8503-F5A1-47DE-81B4-020935D2FEDD}" type="datetimeFigureOut">
              <a:rPr lang="en-US" smtClean="0"/>
              <a:t>4/25/20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EB951B-3A57-4B7B-9395-DA8935C9F48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41873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8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8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lefónica - Títul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-23446" y="2286000"/>
            <a:ext cx="9167446" cy="2159000"/>
            <a:chOff x="-23446" y="2286000"/>
            <a:chExt cx="9167446" cy="2159000"/>
          </a:xfrm>
        </p:grpSpPr>
        <p:sp>
          <p:nvSpPr>
            <p:cNvPr id="3" name="Rectangle 1"/>
            <p:cNvSpPr>
              <a:spLocks/>
            </p:cNvSpPr>
            <p:nvPr userDrawn="1"/>
          </p:nvSpPr>
          <p:spPr bwMode="auto">
            <a:xfrm>
              <a:off x="128954" y="2286000"/>
              <a:ext cx="8663354" cy="2159000"/>
            </a:xfrm>
            <a:prstGeom prst="rect">
              <a:avLst/>
            </a:prstGeom>
            <a:solidFill>
              <a:srgbClr val="E7E7E0"/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4" name="Rectangle 9"/>
            <p:cNvSpPr>
              <a:spLocks/>
            </p:cNvSpPr>
            <p:nvPr userDrawn="1"/>
          </p:nvSpPr>
          <p:spPr bwMode="auto">
            <a:xfrm>
              <a:off x="-23446" y="2286000"/>
              <a:ext cx="152400" cy="2159000"/>
            </a:xfrm>
            <a:prstGeom prst="rect">
              <a:avLst/>
            </a:prstGeom>
            <a:solidFill>
              <a:schemeClr val="accent5"/>
            </a:solidFill>
            <a:ln w="25400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5" name="Rectangle 10"/>
            <p:cNvSpPr>
              <a:spLocks/>
            </p:cNvSpPr>
            <p:nvPr userDrawn="1"/>
          </p:nvSpPr>
          <p:spPr bwMode="auto">
            <a:xfrm>
              <a:off x="128954" y="2286000"/>
              <a:ext cx="82062" cy="2159000"/>
            </a:xfrm>
            <a:prstGeom prst="rect">
              <a:avLst/>
            </a:prstGeom>
            <a:solidFill>
              <a:schemeClr val="tx2"/>
            </a:solidFill>
            <a:ln w="25400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" name="Rectangle 11"/>
            <p:cNvSpPr>
              <a:spLocks/>
            </p:cNvSpPr>
            <p:nvPr userDrawn="1"/>
          </p:nvSpPr>
          <p:spPr bwMode="auto">
            <a:xfrm>
              <a:off x="8792308" y="2286000"/>
              <a:ext cx="351692" cy="2159000"/>
            </a:xfrm>
            <a:prstGeom prst="rect">
              <a:avLst/>
            </a:prstGeom>
            <a:solidFill>
              <a:schemeClr val="tx2"/>
            </a:solidFill>
            <a:ln w="25400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970085" y="2408239"/>
            <a:ext cx="7772400" cy="1020762"/>
          </a:xfrm>
          <a:prstGeom prst="rect">
            <a:avLst/>
          </a:prstGeom>
        </p:spPr>
        <p:txBody>
          <a:bodyPr anchor="ctr"/>
          <a:lstStyle>
            <a:lvl1pPr algn="r">
              <a:defRPr sz="3000" b="1">
                <a:solidFill>
                  <a:schemeClr val="tx2"/>
                </a:solidFill>
              </a:defRPr>
            </a:lvl1pPr>
          </a:lstStyle>
          <a:p>
            <a:r>
              <a:rPr lang="en-US" dirty="0" err="1" smtClean="0"/>
              <a:t>Título</a:t>
            </a:r>
            <a:r>
              <a:rPr lang="en-US" dirty="0" smtClean="0"/>
              <a:t> de </a:t>
            </a:r>
            <a:r>
              <a:rPr lang="en-US" dirty="0" err="1" smtClean="0"/>
              <a:t>portada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a </a:t>
            </a:r>
            <a:r>
              <a:rPr lang="en-US" dirty="0" err="1" smtClean="0"/>
              <a:t>tamaño</a:t>
            </a:r>
            <a:r>
              <a:rPr lang="en-US" dirty="0" smtClean="0"/>
              <a:t> de 30 </a:t>
            </a:r>
            <a:r>
              <a:rPr lang="en-US" dirty="0" err="1" smtClean="0"/>
              <a:t>puntos</a:t>
            </a:r>
            <a:r>
              <a:rPr lang="en-US" dirty="0" smtClean="0"/>
              <a:t>_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41686" y="3486605"/>
            <a:ext cx="6400800" cy="88582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err="1" smtClean="0"/>
              <a:t>Subtítulo</a:t>
            </a:r>
            <a:r>
              <a:rPr lang="en-US" dirty="0" smtClean="0"/>
              <a:t> de </a:t>
            </a:r>
            <a:r>
              <a:rPr lang="en-US" dirty="0" err="1" smtClean="0"/>
              <a:t>portada</a:t>
            </a:r>
            <a:r>
              <a:rPr lang="en-US" dirty="0" smtClean="0"/>
              <a:t>, en </a:t>
            </a:r>
            <a:r>
              <a:rPr lang="en-US" dirty="0" err="1" smtClean="0"/>
              <a:t>una</a:t>
            </a:r>
            <a:r>
              <a:rPr lang="en-US" dirty="0" smtClean="0"/>
              <a:t> o dos </a:t>
            </a:r>
            <a:r>
              <a:rPr lang="en-US" dirty="0" err="1" smtClean="0"/>
              <a:t>líneas</a:t>
            </a:r>
            <a:r>
              <a:rPr lang="en-US" dirty="0" smtClean="0"/>
              <a:t>, </a:t>
            </a:r>
          </a:p>
          <a:p>
            <a:r>
              <a:rPr lang="en-US" dirty="0" smtClean="0"/>
              <a:t>a </a:t>
            </a:r>
            <a:r>
              <a:rPr lang="en-US" dirty="0" err="1" smtClean="0"/>
              <a:t>tamaño</a:t>
            </a:r>
            <a:r>
              <a:rPr lang="en-US" dirty="0" smtClean="0"/>
              <a:t> de 18 </a:t>
            </a:r>
            <a:r>
              <a:rPr lang="en-US" dirty="0" err="1" smtClean="0"/>
              <a:t>puntos</a:t>
            </a:r>
            <a:r>
              <a:rPr lang="en-US" dirty="0" smtClean="0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659413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lefónica - Introdu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425880" y="6464175"/>
            <a:ext cx="279065" cy="29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lang="en-US" sz="1000" smtClean="0">
                <a:solidFill>
                  <a:schemeClr val="accent6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fld id="{9D9F8B9A-560A-470D-9EA6-79F5999904E6}" type="slidenum">
              <a:rPr lang="en-GB">
                <a:solidFill>
                  <a:srgbClr val="00C6DA"/>
                </a:solidFill>
              </a:rPr>
              <a:pPr/>
              <a:t>‹Nº›</a:t>
            </a:fld>
            <a:endParaRPr lang="en-GB" dirty="0">
              <a:solidFill>
                <a:srgbClr val="00C6D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08553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lefónica - Subsección_1colum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3" descr="Viradas03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46" r="5280"/>
          <a:stretch/>
        </p:blipFill>
        <p:spPr bwMode="auto">
          <a:xfrm>
            <a:off x="0" y="15596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425880" y="6464175"/>
            <a:ext cx="279065" cy="29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lang="en-US" sz="1000" smtClean="0">
                <a:solidFill>
                  <a:schemeClr val="accent6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fld id="{9D9F8B9A-560A-470D-9EA6-79F5999904E6}" type="slidenum">
              <a:rPr lang="en-GB">
                <a:solidFill>
                  <a:srgbClr val="00C6DA"/>
                </a:solidFill>
              </a:rPr>
              <a:pPr/>
              <a:t>‹Nº›</a:t>
            </a:fld>
            <a:endParaRPr lang="en-GB" dirty="0">
              <a:solidFill>
                <a:srgbClr val="00C6DA"/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82820" y="1218580"/>
            <a:ext cx="8229600" cy="9142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3000" b="0">
                <a:solidFill>
                  <a:schemeClr val="accent6"/>
                </a:solidFill>
              </a:defRPr>
            </a:lvl1pPr>
          </a:lstStyle>
          <a:p>
            <a:r>
              <a:rPr lang="en-GB" dirty="0" smtClean="0"/>
              <a:t>1.-Título </a:t>
            </a:r>
            <a:r>
              <a:rPr lang="en-GB" dirty="0" err="1" smtClean="0"/>
              <a:t>Capítulo</a:t>
            </a:r>
            <a:r>
              <a:rPr lang="en-GB" dirty="0" smtClean="0"/>
              <a:t> a 30 </a:t>
            </a:r>
            <a:r>
              <a:rPr lang="en-GB" dirty="0" err="1" smtClean="0"/>
              <a:t>puntos</a:t>
            </a:r>
            <a:r>
              <a:rPr lang="en-GB" dirty="0" smtClean="0"/>
              <a:t>_</a:t>
            </a:r>
            <a:endParaRPr lang="en-GB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1547664" y="3439336"/>
            <a:ext cx="6984776" cy="2052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rtl="0" eaLnBrk="0" fontAlgn="base" hangingPunct="0">
              <a:spcBef>
                <a:spcPts val="600"/>
              </a:spcBef>
              <a:spcAft>
                <a:spcPct val="0"/>
              </a:spcAft>
              <a:buSzPct val="171000"/>
              <a:buFont typeface="Gill Sans" pitchFamily="122" charset="0"/>
              <a:buNone/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Gill Sans" pitchFamily="122" charset="0"/>
              </a:defRPr>
            </a:lvl1pPr>
            <a:lvl2pPr marL="0" indent="0" algn="l" rtl="0" eaLnBrk="0" fontAlgn="base" hangingPunct="0">
              <a:spcBef>
                <a:spcPts val="600"/>
              </a:spcBef>
              <a:spcAft>
                <a:spcPct val="0"/>
              </a:spcAft>
              <a:buSzPct val="171000"/>
              <a:buFont typeface="Gill Sans" pitchFamily="122" charset="0"/>
              <a:buNone/>
              <a:defRPr lang="en-US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Gill Sans" pitchFamily="122" charset="0"/>
              </a:defRPr>
            </a:lvl2pPr>
            <a:lvl3pPr marL="0" indent="0" algn="l" rtl="0" eaLnBrk="0" fontAlgn="base" hangingPunct="0">
              <a:spcBef>
                <a:spcPts val="600"/>
              </a:spcBef>
              <a:spcAft>
                <a:spcPct val="0"/>
              </a:spcAft>
              <a:buSzPct val="171000"/>
              <a:buFont typeface="Gill Sans" pitchFamily="122" charset="0"/>
              <a:buNone/>
              <a:defRPr lang="en-US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Gill Sans" pitchFamily="122" charset="0"/>
              </a:defRPr>
            </a:lvl3pPr>
            <a:lvl4pPr marL="0" indent="0" algn="l" rtl="0" eaLnBrk="0" fontAlgn="base" hangingPunct="0">
              <a:spcBef>
                <a:spcPts val="600"/>
              </a:spcBef>
              <a:spcAft>
                <a:spcPct val="0"/>
              </a:spcAft>
              <a:buSzPct val="171000"/>
              <a:buFont typeface="Gill Sans" pitchFamily="122" charset="0"/>
              <a:buNone/>
              <a:defRPr lang="en-US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Gill Sans" pitchFamily="122" charset="0"/>
              </a:defRPr>
            </a:lvl4pPr>
            <a:lvl5pPr marL="0" indent="0" algn="l" rtl="0" eaLnBrk="0" fontAlgn="base" hangingPunct="0">
              <a:spcBef>
                <a:spcPts val="600"/>
              </a:spcBef>
              <a:spcAft>
                <a:spcPct val="0"/>
              </a:spcAft>
              <a:buSzPct val="171000"/>
              <a:buFont typeface="Gill Sans" pitchFamily="122" charset="0"/>
              <a:buNone/>
              <a:defRPr lang="en-GB" sz="16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Gill Sans" pitchFamily="12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algn="l"/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Interdum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volgus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rectum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videt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,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est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ubi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peccat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. Si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veteres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ita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miratur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laudatque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poetas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,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ut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nihil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anteferat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,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nihil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illis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comparet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,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errat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. Si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quaedam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nimis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antique,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si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peraque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dure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dicere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credit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eos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,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ignave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multa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fatetur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, et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sapit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et mecum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facit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et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Iova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iudicat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aequo.Non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equidem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insector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delendave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carmina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Livi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esse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reor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, </a:t>
            </a:r>
            <a:endParaRPr lang="en-US" sz="1200" dirty="0">
              <a:solidFill>
                <a:srgbClr val="072534"/>
              </a:solidFill>
              <a:latin typeface="Trebuchet MS" pitchFamily="34" charset="0"/>
              <a:ea typeface="ヒラギノ角ゴ Pro W3" charset="-128"/>
              <a:sym typeface="Trebuchet MS" pitchFamily="34" charset="0"/>
            </a:endParaRP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72329" y="2306638"/>
            <a:ext cx="7560111" cy="47429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>
              <a:spcBef>
                <a:spcPts val="600"/>
              </a:spcBef>
              <a:buNone/>
              <a:defRPr sz="2400" baseline="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spcBef>
                <a:spcPts val="600"/>
              </a:spcBef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spcBef>
                <a:spcPts val="600"/>
              </a:spcBef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600"/>
              </a:spcBef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1.1 </a:t>
            </a:r>
            <a:r>
              <a:rPr lang="en-US" dirty="0" err="1" smtClean="0"/>
              <a:t>Subsección</a:t>
            </a:r>
            <a:r>
              <a:rPr lang="en-US" dirty="0" smtClean="0"/>
              <a:t>, a 24 </a:t>
            </a:r>
            <a:r>
              <a:rPr lang="en-US" dirty="0" err="1" smtClean="0"/>
              <a:t>puntos</a:t>
            </a:r>
            <a:r>
              <a:rPr lang="en-US" dirty="0" smtClean="0"/>
              <a:t>_</a:t>
            </a:r>
            <a:endParaRPr lang="en-GB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547614" y="2852936"/>
            <a:ext cx="6984826" cy="288925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600">
                <a:solidFill>
                  <a:schemeClr val="accent6"/>
                </a:solidFill>
              </a:defRPr>
            </a:lvl1pPr>
            <a:lvl2pPr marL="762000" indent="0">
              <a:buNone/>
              <a:defRPr/>
            </a:lvl2pPr>
            <a:lvl3pPr marL="1206500" indent="0">
              <a:buNone/>
              <a:defRPr/>
            </a:lvl3pPr>
            <a:lvl4pPr marL="1651000" indent="0">
              <a:buNone/>
              <a:defRPr/>
            </a:lvl4pPr>
            <a:lvl5pPr marL="2095500" indent="0">
              <a:buNone/>
              <a:defRPr/>
            </a:lvl5pPr>
          </a:lstStyle>
          <a:p>
            <a:pPr lvl="0"/>
            <a:r>
              <a:rPr lang="en-US" dirty="0" err="1" smtClean="0"/>
              <a:t>Texto</a:t>
            </a:r>
            <a:r>
              <a:rPr lang="en-US" dirty="0" smtClean="0"/>
              <a:t> </a:t>
            </a:r>
            <a:r>
              <a:rPr lang="en-US" dirty="0" err="1" smtClean="0"/>
              <a:t>secundario</a:t>
            </a:r>
            <a:r>
              <a:rPr lang="en-US" dirty="0" smtClean="0"/>
              <a:t> </a:t>
            </a:r>
            <a:r>
              <a:rPr lang="en-US" dirty="0" err="1" smtClean="0"/>
              <a:t>sobre</a:t>
            </a:r>
            <a:r>
              <a:rPr lang="en-US" dirty="0" smtClean="0"/>
              <a:t> la </a:t>
            </a:r>
            <a:r>
              <a:rPr lang="en-US" dirty="0" err="1" smtClean="0"/>
              <a:t>subsección</a:t>
            </a:r>
            <a:r>
              <a:rPr lang="en-US" dirty="0" smtClean="0"/>
              <a:t>, 16 </a:t>
            </a:r>
            <a:r>
              <a:rPr lang="en-US" dirty="0" err="1" smtClean="0"/>
              <a:t>puntos</a:t>
            </a:r>
            <a:endParaRPr lang="en-US" dirty="0" smtClean="0"/>
          </a:p>
        </p:txBody>
      </p:sp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5004" y="6455370"/>
            <a:ext cx="1206500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6" name="Grupo 15"/>
          <p:cNvGrpSpPr/>
          <p:nvPr userDrawn="1"/>
        </p:nvGrpSpPr>
        <p:grpSpPr>
          <a:xfrm>
            <a:off x="68592" y="6424152"/>
            <a:ext cx="2103461" cy="419839"/>
            <a:chOff x="68592" y="6424152"/>
            <a:chExt cx="2103461" cy="419839"/>
          </a:xfrm>
        </p:grpSpPr>
        <p:grpSp>
          <p:nvGrpSpPr>
            <p:cNvPr id="17" name="Group 5"/>
            <p:cNvGrpSpPr>
              <a:grpSpLocks/>
            </p:cNvGrpSpPr>
            <p:nvPr userDrawn="1"/>
          </p:nvGrpSpPr>
          <p:grpSpPr bwMode="auto">
            <a:xfrm>
              <a:off x="152926" y="6424152"/>
              <a:ext cx="938213" cy="177800"/>
              <a:chOff x="0" y="0"/>
              <a:chExt cx="591" cy="111"/>
            </a:xfrm>
          </p:grpSpPr>
          <p:sp>
            <p:nvSpPr>
              <p:cNvPr id="19" name="AutoShape 3"/>
              <p:cNvSpPr>
                <a:spLocks/>
              </p:cNvSpPr>
              <p:nvPr/>
            </p:nvSpPr>
            <p:spPr bwMode="auto">
              <a:xfrm>
                <a:off x="0" y="0"/>
                <a:ext cx="546" cy="96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w 21600"/>
                  <a:gd name="T13" fmla="*/ 0 h 21600"/>
                  <a:gd name="T14" fmla="*/ 0 w 21600"/>
                  <a:gd name="T15" fmla="*/ 0 h 21600"/>
                  <a:gd name="T16" fmla="*/ 0 w 21600"/>
                  <a:gd name="T17" fmla="*/ 0 h 21600"/>
                  <a:gd name="T18" fmla="*/ 0 w 21600"/>
                  <a:gd name="T19" fmla="*/ 0 h 21600"/>
                  <a:gd name="T20" fmla="*/ 0 w 21600"/>
                  <a:gd name="T21" fmla="*/ 0 h 21600"/>
                  <a:gd name="T22" fmla="*/ 0 w 21600"/>
                  <a:gd name="T23" fmla="*/ 0 h 21600"/>
                  <a:gd name="T24" fmla="*/ 0 w 21600"/>
                  <a:gd name="T25" fmla="*/ 0 h 21600"/>
                  <a:gd name="T26" fmla="*/ 0 w 21600"/>
                  <a:gd name="T27" fmla="*/ 0 h 21600"/>
                  <a:gd name="T28" fmla="*/ 0 w 21600"/>
                  <a:gd name="T29" fmla="*/ 0 h 21600"/>
                  <a:gd name="T30" fmla="*/ 0 w 21600"/>
                  <a:gd name="T31" fmla="*/ 0 h 21600"/>
                  <a:gd name="T32" fmla="*/ 0 w 21600"/>
                  <a:gd name="T33" fmla="*/ 0 h 21600"/>
                  <a:gd name="T34" fmla="*/ 0 w 21600"/>
                  <a:gd name="T35" fmla="*/ 0 h 21600"/>
                  <a:gd name="T36" fmla="*/ 0 w 21600"/>
                  <a:gd name="T37" fmla="*/ 0 h 21600"/>
                  <a:gd name="T38" fmla="*/ 0 w 21600"/>
                  <a:gd name="T39" fmla="*/ 0 h 21600"/>
                  <a:gd name="T40" fmla="*/ 0 w 21600"/>
                  <a:gd name="T41" fmla="*/ 0 h 21600"/>
                  <a:gd name="T42" fmla="*/ 0 w 21600"/>
                  <a:gd name="T43" fmla="*/ 0 h 21600"/>
                  <a:gd name="T44" fmla="*/ 0 w 21600"/>
                  <a:gd name="T45" fmla="*/ 0 h 21600"/>
                  <a:gd name="T46" fmla="*/ 0 w 21600"/>
                  <a:gd name="T47" fmla="*/ 0 h 21600"/>
                  <a:gd name="T48" fmla="*/ 0 w 21600"/>
                  <a:gd name="T49" fmla="*/ 0 h 21600"/>
                  <a:gd name="T50" fmla="*/ 0 w 21600"/>
                  <a:gd name="T51" fmla="*/ 0 h 21600"/>
                  <a:gd name="T52" fmla="*/ 0 w 21600"/>
                  <a:gd name="T53" fmla="*/ 0 h 21600"/>
                  <a:gd name="T54" fmla="*/ 0 w 21600"/>
                  <a:gd name="T55" fmla="*/ 0 h 21600"/>
                  <a:gd name="T56" fmla="*/ 0 w 21600"/>
                  <a:gd name="T57" fmla="*/ 0 h 21600"/>
                  <a:gd name="T58" fmla="*/ 0 w 21600"/>
                  <a:gd name="T59" fmla="*/ 0 h 21600"/>
                  <a:gd name="T60" fmla="*/ 0 w 21600"/>
                  <a:gd name="T61" fmla="*/ 0 h 21600"/>
                  <a:gd name="T62" fmla="*/ 0 w 21600"/>
                  <a:gd name="T63" fmla="*/ 0 h 21600"/>
                  <a:gd name="T64" fmla="*/ 0 w 21600"/>
                  <a:gd name="T65" fmla="*/ 0 h 21600"/>
                  <a:gd name="T66" fmla="*/ 0 w 21600"/>
                  <a:gd name="T67" fmla="*/ 0 h 21600"/>
                  <a:gd name="T68" fmla="*/ 0 w 21600"/>
                  <a:gd name="T69" fmla="*/ 0 h 21600"/>
                  <a:gd name="T70" fmla="*/ 0 w 21600"/>
                  <a:gd name="T71" fmla="*/ 0 h 21600"/>
                  <a:gd name="T72" fmla="*/ 0 w 21600"/>
                  <a:gd name="T73" fmla="*/ 0 h 21600"/>
                  <a:gd name="T74" fmla="*/ 0 w 21600"/>
                  <a:gd name="T75" fmla="*/ 0 h 21600"/>
                  <a:gd name="T76" fmla="*/ 0 w 21600"/>
                  <a:gd name="T77" fmla="*/ 0 h 21600"/>
                  <a:gd name="T78" fmla="*/ 0 w 21600"/>
                  <a:gd name="T79" fmla="*/ 0 h 21600"/>
                  <a:gd name="T80" fmla="*/ 0 w 21600"/>
                  <a:gd name="T81" fmla="*/ 0 h 21600"/>
                  <a:gd name="T82" fmla="*/ 0 w 21600"/>
                  <a:gd name="T83" fmla="*/ 0 h 21600"/>
                  <a:gd name="T84" fmla="*/ 0 w 21600"/>
                  <a:gd name="T85" fmla="*/ 0 h 21600"/>
                  <a:gd name="T86" fmla="*/ 0 w 21600"/>
                  <a:gd name="T87" fmla="*/ 0 h 21600"/>
                  <a:gd name="T88" fmla="*/ 0 w 21600"/>
                  <a:gd name="T89" fmla="*/ 0 h 21600"/>
                  <a:gd name="T90" fmla="*/ 0 w 21600"/>
                  <a:gd name="T91" fmla="*/ 0 h 21600"/>
                  <a:gd name="T92" fmla="*/ 0 w 21600"/>
                  <a:gd name="T93" fmla="*/ 0 h 21600"/>
                  <a:gd name="T94" fmla="*/ 0 w 21600"/>
                  <a:gd name="T95" fmla="*/ 0 h 21600"/>
                  <a:gd name="T96" fmla="*/ 0 w 21600"/>
                  <a:gd name="T97" fmla="*/ 0 h 21600"/>
                  <a:gd name="T98" fmla="*/ 0 w 21600"/>
                  <a:gd name="T99" fmla="*/ 0 h 21600"/>
                  <a:gd name="T100" fmla="*/ 0 w 21600"/>
                  <a:gd name="T101" fmla="*/ 0 h 21600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21600"/>
                  <a:gd name="T154" fmla="*/ 0 h 21600"/>
                  <a:gd name="T155" fmla="*/ 21600 w 21600"/>
                  <a:gd name="T156" fmla="*/ 21600 h 21600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21600" h="21600">
                    <a:moveTo>
                      <a:pt x="2236" y="9904"/>
                    </a:moveTo>
                    <a:cubicBezTo>
                      <a:pt x="2490" y="10359"/>
                      <a:pt x="2636" y="10997"/>
                      <a:pt x="2734" y="11787"/>
                    </a:cubicBezTo>
                    <a:cubicBezTo>
                      <a:pt x="2833" y="12577"/>
                      <a:pt x="2864" y="13428"/>
                      <a:pt x="2864" y="14460"/>
                    </a:cubicBezTo>
                    <a:cubicBezTo>
                      <a:pt x="2864" y="16952"/>
                      <a:pt x="2688" y="18501"/>
                      <a:pt x="2444" y="19473"/>
                    </a:cubicBezTo>
                    <a:cubicBezTo>
                      <a:pt x="2174" y="20567"/>
                      <a:pt x="1764" y="21175"/>
                      <a:pt x="1105" y="21175"/>
                    </a:cubicBezTo>
                    <a:lnTo>
                      <a:pt x="0" y="21175"/>
                    </a:lnTo>
                    <a:lnTo>
                      <a:pt x="623" y="395"/>
                    </a:lnTo>
                    <a:lnTo>
                      <a:pt x="1717" y="395"/>
                    </a:lnTo>
                    <a:cubicBezTo>
                      <a:pt x="2226" y="395"/>
                      <a:pt x="2480" y="942"/>
                      <a:pt x="2636" y="1671"/>
                    </a:cubicBezTo>
                    <a:cubicBezTo>
                      <a:pt x="2823" y="2552"/>
                      <a:pt x="2885" y="3797"/>
                      <a:pt x="2885" y="4982"/>
                    </a:cubicBezTo>
                    <a:cubicBezTo>
                      <a:pt x="2885" y="7017"/>
                      <a:pt x="2703" y="8871"/>
                      <a:pt x="2236" y="9904"/>
                    </a:cubicBezTo>
                    <a:close/>
                    <a:moveTo>
                      <a:pt x="908" y="17742"/>
                    </a:moveTo>
                    <a:lnTo>
                      <a:pt x="1188" y="17742"/>
                    </a:lnTo>
                    <a:cubicBezTo>
                      <a:pt x="1484" y="17742"/>
                      <a:pt x="1645" y="17529"/>
                      <a:pt x="1775" y="17134"/>
                    </a:cubicBezTo>
                    <a:cubicBezTo>
                      <a:pt x="1920" y="16679"/>
                      <a:pt x="2039" y="15919"/>
                      <a:pt x="2039" y="14643"/>
                    </a:cubicBezTo>
                    <a:cubicBezTo>
                      <a:pt x="2039" y="13792"/>
                      <a:pt x="1987" y="13155"/>
                      <a:pt x="1899" y="12760"/>
                    </a:cubicBezTo>
                    <a:cubicBezTo>
                      <a:pt x="1800" y="12304"/>
                      <a:pt x="1650" y="12091"/>
                      <a:pt x="1437" y="12091"/>
                    </a:cubicBezTo>
                    <a:lnTo>
                      <a:pt x="1079" y="12091"/>
                    </a:lnTo>
                    <a:lnTo>
                      <a:pt x="908" y="17742"/>
                    </a:lnTo>
                    <a:close/>
                    <a:moveTo>
                      <a:pt x="1183" y="8658"/>
                    </a:moveTo>
                    <a:lnTo>
                      <a:pt x="1365" y="8658"/>
                    </a:lnTo>
                    <a:cubicBezTo>
                      <a:pt x="1645" y="8658"/>
                      <a:pt x="1800" y="8324"/>
                      <a:pt x="1909" y="7838"/>
                    </a:cubicBezTo>
                    <a:cubicBezTo>
                      <a:pt x="2018" y="7352"/>
                      <a:pt x="2081" y="6623"/>
                      <a:pt x="2081" y="5742"/>
                    </a:cubicBezTo>
                    <a:cubicBezTo>
                      <a:pt x="2081" y="5134"/>
                      <a:pt x="2055" y="4739"/>
                      <a:pt x="1998" y="4405"/>
                    </a:cubicBezTo>
                    <a:cubicBezTo>
                      <a:pt x="1935" y="4071"/>
                      <a:pt x="1831" y="3828"/>
                      <a:pt x="1603" y="3828"/>
                    </a:cubicBezTo>
                    <a:lnTo>
                      <a:pt x="1328" y="3828"/>
                    </a:lnTo>
                    <a:lnTo>
                      <a:pt x="1183" y="8658"/>
                    </a:lnTo>
                    <a:close/>
                    <a:moveTo>
                      <a:pt x="4140" y="17742"/>
                    </a:moveTo>
                    <a:lnTo>
                      <a:pt x="5749" y="17742"/>
                    </a:lnTo>
                    <a:lnTo>
                      <a:pt x="5650" y="21175"/>
                    </a:lnTo>
                    <a:lnTo>
                      <a:pt x="3227" y="21175"/>
                    </a:lnTo>
                    <a:lnTo>
                      <a:pt x="3850" y="395"/>
                    </a:lnTo>
                    <a:lnTo>
                      <a:pt x="6247" y="395"/>
                    </a:lnTo>
                    <a:lnTo>
                      <a:pt x="6081" y="3828"/>
                    </a:lnTo>
                    <a:lnTo>
                      <a:pt x="4556" y="3828"/>
                    </a:lnTo>
                    <a:lnTo>
                      <a:pt x="4405" y="8871"/>
                    </a:lnTo>
                    <a:lnTo>
                      <a:pt x="5624" y="8871"/>
                    </a:lnTo>
                    <a:lnTo>
                      <a:pt x="5515" y="12425"/>
                    </a:lnTo>
                    <a:lnTo>
                      <a:pt x="4296" y="12425"/>
                    </a:lnTo>
                    <a:lnTo>
                      <a:pt x="4140" y="17742"/>
                    </a:lnTo>
                    <a:close/>
                    <a:moveTo>
                      <a:pt x="8540" y="395"/>
                    </a:moveTo>
                    <a:lnTo>
                      <a:pt x="9298" y="11878"/>
                    </a:lnTo>
                    <a:lnTo>
                      <a:pt x="10792" y="395"/>
                    </a:lnTo>
                    <a:lnTo>
                      <a:pt x="11456" y="395"/>
                    </a:lnTo>
                    <a:lnTo>
                      <a:pt x="10834" y="21175"/>
                    </a:lnTo>
                    <a:lnTo>
                      <a:pt x="10092" y="21175"/>
                    </a:lnTo>
                    <a:lnTo>
                      <a:pt x="10450" y="9053"/>
                    </a:lnTo>
                    <a:lnTo>
                      <a:pt x="9495" y="16436"/>
                    </a:lnTo>
                    <a:lnTo>
                      <a:pt x="8872" y="16436"/>
                    </a:lnTo>
                    <a:lnTo>
                      <a:pt x="8354" y="8658"/>
                    </a:lnTo>
                    <a:lnTo>
                      <a:pt x="7975" y="21175"/>
                    </a:lnTo>
                    <a:lnTo>
                      <a:pt x="7295" y="21175"/>
                    </a:lnTo>
                    <a:lnTo>
                      <a:pt x="7918" y="395"/>
                    </a:lnTo>
                    <a:lnTo>
                      <a:pt x="8540" y="395"/>
                    </a:lnTo>
                    <a:close/>
                    <a:moveTo>
                      <a:pt x="11685" y="13640"/>
                    </a:moveTo>
                    <a:cubicBezTo>
                      <a:pt x="11685" y="10451"/>
                      <a:pt x="11820" y="7321"/>
                      <a:pt x="12058" y="4921"/>
                    </a:cubicBezTo>
                    <a:cubicBezTo>
                      <a:pt x="12380" y="1701"/>
                      <a:pt x="12893" y="0"/>
                      <a:pt x="13610" y="0"/>
                    </a:cubicBezTo>
                    <a:cubicBezTo>
                      <a:pt x="14429" y="0"/>
                      <a:pt x="14990" y="2521"/>
                      <a:pt x="14990" y="7959"/>
                    </a:cubicBezTo>
                    <a:cubicBezTo>
                      <a:pt x="14990" y="11149"/>
                      <a:pt x="14855" y="14278"/>
                      <a:pt x="14616" y="16678"/>
                    </a:cubicBezTo>
                    <a:cubicBezTo>
                      <a:pt x="14295" y="19899"/>
                      <a:pt x="13781" y="21600"/>
                      <a:pt x="13065" y="21600"/>
                    </a:cubicBezTo>
                    <a:cubicBezTo>
                      <a:pt x="12245" y="21600"/>
                      <a:pt x="11685" y="19078"/>
                      <a:pt x="11685" y="13640"/>
                    </a:cubicBezTo>
                    <a:close/>
                    <a:moveTo>
                      <a:pt x="12790" y="6775"/>
                    </a:moveTo>
                    <a:cubicBezTo>
                      <a:pt x="12619" y="8688"/>
                      <a:pt x="12520" y="11180"/>
                      <a:pt x="12520" y="13640"/>
                    </a:cubicBezTo>
                    <a:cubicBezTo>
                      <a:pt x="12520" y="16770"/>
                      <a:pt x="12764" y="17894"/>
                      <a:pt x="13127" y="17894"/>
                    </a:cubicBezTo>
                    <a:cubicBezTo>
                      <a:pt x="13469" y="17894"/>
                      <a:pt x="13713" y="16709"/>
                      <a:pt x="13885" y="14825"/>
                    </a:cubicBezTo>
                    <a:cubicBezTo>
                      <a:pt x="14056" y="12912"/>
                      <a:pt x="14154" y="10420"/>
                      <a:pt x="14154" y="7960"/>
                    </a:cubicBezTo>
                    <a:cubicBezTo>
                      <a:pt x="14154" y="4830"/>
                      <a:pt x="13911" y="3706"/>
                      <a:pt x="13547" y="3706"/>
                    </a:cubicBezTo>
                    <a:cubicBezTo>
                      <a:pt x="13205" y="3706"/>
                      <a:pt x="12961" y="4891"/>
                      <a:pt x="12790" y="6775"/>
                    </a:cubicBezTo>
                    <a:close/>
                    <a:moveTo>
                      <a:pt x="18098" y="10177"/>
                    </a:moveTo>
                    <a:cubicBezTo>
                      <a:pt x="17963" y="11271"/>
                      <a:pt x="17745" y="12182"/>
                      <a:pt x="17459" y="12851"/>
                    </a:cubicBezTo>
                    <a:lnTo>
                      <a:pt x="18009" y="21175"/>
                    </a:lnTo>
                    <a:lnTo>
                      <a:pt x="17143" y="21175"/>
                    </a:lnTo>
                    <a:lnTo>
                      <a:pt x="16728" y="13641"/>
                    </a:lnTo>
                    <a:lnTo>
                      <a:pt x="16251" y="13641"/>
                    </a:lnTo>
                    <a:lnTo>
                      <a:pt x="16027" y="21175"/>
                    </a:lnTo>
                    <a:lnTo>
                      <a:pt x="15218" y="21175"/>
                    </a:lnTo>
                    <a:lnTo>
                      <a:pt x="15841" y="395"/>
                    </a:lnTo>
                    <a:lnTo>
                      <a:pt x="17050" y="395"/>
                    </a:lnTo>
                    <a:cubicBezTo>
                      <a:pt x="17491" y="395"/>
                      <a:pt x="17797" y="942"/>
                      <a:pt x="17989" y="1914"/>
                    </a:cubicBezTo>
                    <a:cubicBezTo>
                      <a:pt x="18202" y="2977"/>
                      <a:pt x="18290" y="4526"/>
                      <a:pt x="18290" y="6319"/>
                    </a:cubicBezTo>
                    <a:cubicBezTo>
                      <a:pt x="18290" y="7807"/>
                      <a:pt x="18227" y="9114"/>
                      <a:pt x="18098" y="10177"/>
                    </a:cubicBezTo>
                    <a:close/>
                    <a:moveTo>
                      <a:pt x="16354" y="10208"/>
                    </a:moveTo>
                    <a:lnTo>
                      <a:pt x="16666" y="10208"/>
                    </a:lnTo>
                    <a:cubicBezTo>
                      <a:pt x="16915" y="10208"/>
                      <a:pt x="17138" y="9934"/>
                      <a:pt x="17288" y="9114"/>
                    </a:cubicBezTo>
                    <a:cubicBezTo>
                      <a:pt x="17408" y="8476"/>
                      <a:pt x="17486" y="7443"/>
                      <a:pt x="17486" y="6349"/>
                    </a:cubicBezTo>
                    <a:cubicBezTo>
                      <a:pt x="17486" y="5651"/>
                      <a:pt x="17454" y="5012"/>
                      <a:pt x="17382" y="4587"/>
                    </a:cubicBezTo>
                    <a:cubicBezTo>
                      <a:pt x="17299" y="4101"/>
                      <a:pt x="17169" y="3828"/>
                      <a:pt x="16951" y="3828"/>
                    </a:cubicBezTo>
                    <a:lnTo>
                      <a:pt x="16546" y="3828"/>
                    </a:lnTo>
                    <a:lnTo>
                      <a:pt x="16354" y="10208"/>
                    </a:lnTo>
                    <a:close/>
                    <a:moveTo>
                      <a:pt x="19493" y="17742"/>
                    </a:moveTo>
                    <a:lnTo>
                      <a:pt x="21102" y="17742"/>
                    </a:lnTo>
                    <a:lnTo>
                      <a:pt x="21003" y="21175"/>
                    </a:lnTo>
                    <a:lnTo>
                      <a:pt x="18580" y="21175"/>
                    </a:lnTo>
                    <a:lnTo>
                      <a:pt x="19203" y="395"/>
                    </a:lnTo>
                    <a:lnTo>
                      <a:pt x="21600" y="395"/>
                    </a:lnTo>
                    <a:lnTo>
                      <a:pt x="21434" y="3828"/>
                    </a:lnTo>
                    <a:lnTo>
                      <a:pt x="19909" y="3828"/>
                    </a:lnTo>
                    <a:lnTo>
                      <a:pt x="19758" y="8871"/>
                    </a:lnTo>
                    <a:lnTo>
                      <a:pt x="20977" y="8871"/>
                    </a:lnTo>
                    <a:lnTo>
                      <a:pt x="20868" y="12425"/>
                    </a:lnTo>
                    <a:lnTo>
                      <a:pt x="19649" y="12425"/>
                    </a:lnTo>
                    <a:lnTo>
                      <a:pt x="19493" y="17742"/>
                    </a:lnTo>
                    <a:close/>
                    <a:moveTo>
                      <a:pt x="19493" y="17742"/>
                    </a:moveTo>
                  </a:path>
                </a:pathLst>
              </a:custGeom>
              <a:solidFill>
                <a:srgbClr val="1193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es-ES">
                  <a:solidFill>
                    <a:srgbClr val="FFFFFF"/>
                  </a:solidFill>
                </a:endParaRPr>
              </a:p>
            </p:txBody>
          </p:sp>
          <p:sp>
            <p:nvSpPr>
              <p:cNvPr id="20" name="AutoShape 4"/>
              <p:cNvSpPr>
                <a:spLocks/>
              </p:cNvSpPr>
              <p:nvPr/>
            </p:nvSpPr>
            <p:spPr bwMode="auto">
              <a:xfrm>
                <a:off x="533" y="98"/>
                <a:ext cx="58" cy="13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1600"/>
                  <a:gd name="T19" fmla="*/ 0 h 21600"/>
                  <a:gd name="T20" fmla="*/ 21600 w 21600"/>
                  <a:gd name="T21" fmla="*/ 21600 h 2160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1600" h="21600">
                    <a:moveTo>
                      <a:pt x="0" y="21600"/>
                    </a:moveTo>
                    <a:lnTo>
                      <a:pt x="870" y="0"/>
                    </a:lnTo>
                    <a:lnTo>
                      <a:pt x="21600" y="0"/>
                    </a:lnTo>
                    <a:lnTo>
                      <a:pt x="20730" y="21600"/>
                    </a:lnTo>
                    <a:lnTo>
                      <a:pt x="0" y="21600"/>
                    </a:lnTo>
                    <a:close/>
                    <a:moveTo>
                      <a:pt x="0" y="21600"/>
                    </a:moveTo>
                  </a:path>
                </a:pathLst>
              </a:custGeom>
              <a:solidFill>
                <a:srgbClr val="7DF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es-ES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18" name="22 CuadroTexto"/>
            <p:cNvSpPr txBox="1"/>
            <p:nvPr userDrawn="1"/>
          </p:nvSpPr>
          <p:spPr>
            <a:xfrm>
              <a:off x="68592" y="6597770"/>
              <a:ext cx="2103461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en-US" sz="1000" i="1" kern="0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SCOVER, DISRUPT, DELIV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940259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lefónica - Portad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2" descr="Viradas02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16" r="3277"/>
          <a:stretch/>
        </p:blipFill>
        <p:spPr bwMode="auto">
          <a:xfrm>
            <a:off x="0" y="-1287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82820" y="1218580"/>
            <a:ext cx="8229600" cy="9142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3000" b="0" baseline="0">
                <a:solidFill>
                  <a:schemeClr val="tx1"/>
                </a:solidFill>
              </a:defRPr>
            </a:lvl1pPr>
          </a:lstStyle>
          <a:p>
            <a:r>
              <a:rPr lang="en-GB" dirty="0" smtClean="0"/>
              <a:t>1.-Portadilla, a 30 </a:t>
            </a:r>
            <a:r>
              <a:rPr lang="en-GB" dirty="0" err="1" smtClean="0"/>
              <a:t>puntos</a:t>
            </a:r>
            <a:r>
              <a:rPr lang="en-GB" dirty="0" smtClean="0"/>
              <a:t>_</a:t>
            </a:r>
            <a:endParaRPr lang="en-GB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72329" y="2306638"/>
            <a:ext cx="5467507" cy="47429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>
              <a:spcBef>
                <a:spcPts val="600"/>
              </a:spcBef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spcBef>
                <a:spcPts val="600"/>
              </a:spcBef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spcBef>
                <a:spcPts val="600"/>
              </a:spcBef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600"/>
              </a:spcBef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err="1" smtClean="0"/>
              <a:t>Texto</a:t>
            </a:r>
            <a:r>
              <a:rPr lang="en-US" dirty="0" smtClean="0"/>
              <a:t> </a:t>
            </a:r>
            <a:r>
              <a:rPr lang="en-US" dirty="0" err="1" smtClean="0"/>
              <a:t>secundario</a:t>
            </a:r>
            <a:r>
              <a:rPr lang="en-US" dirty="0" smtClean="0"/>
              <a:t> </a:t>
            </a:r>
            <a:r>
              <a:rPr lang="en-US" dirty="0" err="1" smtClean="0"/>
              <a:t>sobre</a:t>
            </a:r>
            <a:r>
              <a:rPr lang="en-US" dirty="0" smtClean="0"/>
              <a:t> la </a:t>
            </a:r>
            <a:r>
              <a:rPr lang="en-US" dirty="0" err="1" smtClean="0"/>
              <a:t>portadilla</a:t>
            </a:r>
            <a:r>
              <a:rPr lang="en-US" dirty="0" smtClean="0"/>
              <a:t>, 16 </a:t>
            </a:r>
            <a:r>
              <a:rPr lang="en-US" dirty="0" err="1" smtClean="0"/>
              <a:t>puntos</a:t>
            </a:r>
            <a:endParaRPr lang="en-GB" dirty="0"/>
          </a:p>
        </p:txBody>
      </p:sp>
      <p:sp>
        <p:nvSpPr>
          <p:cNvPr id="10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425880" y="6464175"/>
            <a:ext cx="279065" cy="29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lang="en-US" sz="1000" smtClean="0">
                <a:solidFill>
                  <a:schemeClr val="accent6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fld id="{9D9F8B9A-560A-470D-9EA6-79F5999904E6}" type="slidenum">
              <a:rPr lang="en-GB">
                <a:solidFill>
                  <a:srgbClr val="00C6DA"/>
                </a:solidFill>
              </a:rPr>
              <a:pPr/>
              <a:t>‹Nº›</a:t>
            </a:fld>
            <a:endParaRPr lang="en-GB" dirty="0">
              <a:solidFill>
                <a:srgbClr val="00C6DA"/>
              </a:solidFill>
            </a:endParaRPr>
          </a:p>
        </p:txBody>
      </p:sp>
      <p:sp>
        <p:nvSpPr>
          <p:cNvPr id="11" name="Slide Number Placeholder 2"/>
          <p:cNvSpPr txBox="1">
            <a:spLocks/>
          </p:cNvSpPr>
          <p:nvPr userDrawn="1"/>
        </p:nvSpPr>
        <p:spPr>
          <a:xfrm>
            <a:off x="4425880" y="6464175"/>
            <a:ext cx="279065" cy="29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lang="en-US" sz="1000" smtClean="0">
                <a:solidFill>
                  <a:schemeClr val="accent6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pPr>
              <a:defRPr/>
            </a:pPr>
            <a:fld id="{9D9F8B9A-560A-470D-9EA6-79F5999904E6}" type="slidenum">
              <a:rPr lang="en-GB">
                <a:solidFill>
                  <a:srgbClr val="00C6DA"/>
                </a:solidFill>
              </a:rPr>
              <a:pPr>
                <a:defRPr/>
              </a:pPr>
              <a:t>‹Nº›</a:t>
            </a:fld>
            <a:endParaRPr lang="en-GB" dirty="0">
              <a:solidFill>
                <a:srgbClr val="00C6DA"/>
              </a:solidFill>
            </a:endParaRPr>
          </a:p>
        </p:txBody>
      </p:sp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5004" y="6455370"/>
            <a:ext cx="1206500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6" name="Grupo 15"/>
          <p:cNvGrpSpPr/>
          <p:nvPr userDrawn="1"/>
        </p:nvGrpSpPr>
        <p:grpSpPr>
          <a:xfrm>
            <a:off x="68592" y="6424152"/>
            <a:ext cx="2103461" cy="419839"/>
            <a:chOff x="68592" y="6424152"/>
            <a:chExt cx="2103461" cy="419839"/>
          </a:xfrm>
        </p:grpSpPr>
        <p:grpSp>
          <p:nvGrpSpPr>
            <p:cNvPr id="17" name="Group 5"/>
            <p:cNvGrpSpPr>
              <a:grpSpLocks/>
            </p:cNvGrpSpPr>
            <p:nvPr userDrawn="1"/>
          </p:nvGrpSpPr>
          <p:grpSpPr bwMode="auto">
            <a:xfrm>
              <a:off x="152926" y="6424152"/>
              <a:ext cx="938213" cy="177800"/>
              <a:chOff x="0" y="0"/>
              <a:chExt cx="591" cy="111"/>
            </a:xfrm>
          </p:grpSpPr>
          <p:sp>
            <p:nvSpPr>
              <p:cNvPr id="19" name="AutoShape 3"/>
              <p:cNvSpPr>
                <a:spLocks/>
              </p:cNvSpPr>
              <p:nvPr/>
            </p:nvSpPr>
            <p:spPr bwMode="auto">
              <a:xfrm>
                <a:off x="0" y="0"/>
                <a:ext cx="546" cy="96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w 21600"/>
                  <a:gd name="T13" fmla="*/ 0 h 21600"/>
                  <a:gd name="T14" fmla="*/ 0 w 21600"/>
                  <a:gd name="T15" fmla="*/ 0 h 21600"/>
                  <a:gd name="T16" fmla="*/ 0 w 21600"/>
                  <a:gd name="T17" fmla="*/ 0 h 21600"/>
                  <a:gd name="T18" fmla="*/ 0 w 21600"/>
                  <a:gd name="T19" fmla="*/ 0 h 21600"/>
                  <a:gd name="T20" fmla="*/ 0 w 21600"/>
                  <a:gd name="T21" fmla="*/ 0 h 21600"/>
                  <a:gd name="T22" fmla="*/ 0 w 21600"/>
                  <a:gd name="T23" fmla="*/ 0 h 21600"/>
                  <a:gd name="T24" fmla="*/ 0 w 21600"/>
                  <a:gd name="T25" fmla="*/ 0 h 21600"/>
                  <a:gd name="T26" fmla="*/ 0 w 21600"/>
                  <a:gd name="T27" fmla="*/ 0 h 21600"/>
                  <a:gd name="T28" fmla="*/ 0 w 21600"/>
                  <a:gd name="T29" fmla="*/ 0 h 21600"/>
                  <a:gd name="T30" fmla="*/ 0 w 21600"/>
                  <a:gd name="T31" fmla="*/ 0 h 21600"/>
                  <a:gd name="T32" fmla="*/ 0 w 21600"/>
                  <a:gd name="T33" fmla="*/ 0 h 21600"/>
                  <a:gd name="T34" fmla="*/ 0 w 21600"/>
                  <a:gd name="T35" fmla="*/ 0 h 21600"/>
                  <a:gd name="T36" fmla="*/ 0 w 21600"/>
                  <a:gd name="T37" fmla="*/ 0 h 21600"/>
                  <a:gd name="T38" fmla="*/ 0 w 21600"/>
                  <a:gd name="T39" fmla="*/ 0 h 21600"/>
                  <a:gd name="T40" fmla="*/ 0 w 21600"/>
                  <a:gd name="T41" fmla="*/ 0 h 21600"/>
                  <a:gd name="T42" fmla="*/ 0 w 21600"/>
                  <a:gd name="T43" fmla="*/ 0 h 21600"/>
                  <a:gd name="T44" fmla="*/ 0 w 21600"/>
                  <a:gd name="T45" fmla="*/ 0 h 21600"/>
                  <a:gd name="T46" fmla="*/ 0 w 21600"/>
                  <a:gd name="T47" fmla="*/ 0 h 21600"/>
                  <a:gd name="T48" fmla="*/ 0 w 21600"/>
                  <a:gd name="T49" fmla="*/ 0 h 21600"/>
                  <a:gd name="T50" fmla="*/ 0 w 21600"/>
                  <a:gd name="T51" fmla="*/ 0 h 21600"/>
                  <a:gd name="T52" fmla="*/ 0 w 21600"/>
                  <a:gd name="T53" fmla="*/ 0 h 21600"/>
                  <a:gd name="T54" fmla="*/ 0 w 21600"/>
                  <a:gd name="T55" fmla="*/ 0 h 21600"/>
                  <a:gd name="T56" fmla="*/ 0 w 21600"/>
                  <a:gd name="T57" fmla="*/ 0 h 21600"/>
                  <a:gd name="T58" fmla="*/ 0 w 21600"/>
                  <a:gd name="T59" fmla="*/ 0 h 21600"/>
                  <a:gd name="T60" fmla="*/ 0 w 21600"/>
                  <a:gd name="T61" fmla="*/ 0 h 21600"/>
                  <a:gd name="T62" fmla="*/ 0 w 21600"/>
                  <a:gd name="T63" fmla="*/ 0 h 21600"/>
                  <a:gd name="T64" fmla="*/ 0 w 21600"/>
                  <a:gd name="T65" fmla="*/ 0 h 21600"/>
                  <a:gd name="T66" fmla="*/ 0 w 21600"/>
                  <a:gd name="T67" fmla="*/ 0 h 21600"/>
                  <a:gd name="T68" fmla="*/ 0 w 21600"/>
                  <a:gd name="T69" fmla="*/ 0 h 21600"/>
                  <a:gd name="T70" fmla="*/ 0 w 21600"/>
                  <a:gd name="T71" fmla="*/ 0 h 21600"/>
                  <a:gd name="T72" fmla="*/ 0 w 21600"/>
                  <a:gd name="T73" fmla="*/ 0 h 21600"/>
                  <a:gd name="T74" fmla="*/ 0 w 21600"/>
                  <a:gd name="T75" fmla="*/ 0 h 21600"/>
                  <a:gd name="T76" fmla="*/ 0 w 21600"/>
                  <a:gd name="T77" fmla="*/ 0 h 21600"/>
                  <a:gd name="T78" fmla="*/ 0 w 21600"/>
                  <a:gd name="T79" fmla="*/ 0 h 21600"/>
                  <a:gd name="T80" fmla="*/ 0 w 21600"/>
                  <a:gd name="T81" fmla="*/ 0 h 21600"/>
                  <a:gd name="T82" fmla="*/ 0 w 21600"/>
                  <a:gd name="T83" fmla="*/ 0 h 21600"/>
                  <a:gd name="T84" fmla="*/ 0 w 21600"/>
                  <a:gd name="T85" fmla="*/ 0 h 21600"/>
                  <a:gd name="T86" fmla="*/ 0 w 21600"/>
                  <a:gd name="T87" fmla="*/ 0 h 21600"/>
                  <a:gd name="T88" fmla="*/ 0 w 21600"/>
                  <a:gd name="T89" fmla="*/ 0 h 21600"/>
                  <a:gd name="T90" fmla="*/ 0 w 21600"/>
                  <a:gd name="T91" fmla="*/ 0 h 21600"/>
                  <a:gd name="T92" fmla="*/ 0 w 21600"/>
                  <a:gd name="T93" fmla="*/ 0 h 21600"/>
                  <a:gd name="T94" fmla="*/ 0 w 21600"/>
                  <a:gd name="T95" fmla="*/ 0 h 21600"/>
                  <a:gd name="T96" fmla="*/ 0 w 21600"/>
                  <a:gd name="T97" fmla="*/ 0 h 21600"/>
                  <a:gd name="T98" fmla="*/ 0 w 21600"/>
                  <a:gd name="T99" fmla="*/ 0 h 21600"/>
                  <a:gd name="T100" fmla="*/ 0 w 21600"/>
                  <a:gd name="T101" fmla="*/ 0 h 21600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21600"/>
                  <a:gd name="T154" fmla="*/ 0 h 21600"/>
                  <a:gd name="T155" fmla="*/ 21600 w 21600"/>
                  <a:gd name="T156" fmla="*/ 21600 h 21600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21600" h="21600">
                    <a:moveTo>
                      <a:pt x="2236" y="9904"/>
                    </a:moveTo>
                    <a:cubicBezTo>
                      <a:pt x="2490" y="10359"/>
                      <a:pt x="2636" y="10997"/>
                      <a:pt x="2734" y="11787"/>
                    </a:cubicBezTo>
                    <a:cubicBezTo>
                      <a:pt x="2833" y="12577"/>
                      <a:pt x="2864" y="13428"/>
                      <a:pt x="2864" y="14460"/>
                    </a:cubicBezTo>
                    <a:cubicBezTo>
                      <a:pt x="2864" y="16952"/>
                      <a:pt x="2688" y="18501"/>
                      <a:pt x="2444" y="19473"/>
                    </a:cubicBezTo>
                    <a:cubicBezTo>
                      <a:pt x="2174" y="20567"/>
                      <a:pt x="1764" y="21175"/>
                      <a:pt x="1105" y="21175"/>
                    </a:cubicBezTo>
                    <a:lnTo>
                      <a:pt x="0" y="21175"/>
                    </a:lnTo>
                    <a:lnTo>
                      <a:pt x="623" y="395"/>
                    </a:lnTo>
                    <a:lnTo>
                      <a:pt x="1717" y="395"/>
                    </a:lnTo>
                    <a:cubicBezTo>
                      <a:pt x="2226" y="395"/>
                      <a:pt x="2480" y="942"/>
                      <a:pt x="2636" y="1671"/>
                    </a:cubicBezTo>
                    <a:cubicBezTo>
                      <a:pt x="2823" y="2552"/>
                      <a:pt x="2885" y="3797"/>
                      <a:pt x="2885" y="4982"/>
                    </a:cubicBezTo>
                    <a:cubicBezTo>
                      <a:pt x="2885" y="7017"/>
                      <a:pt x="2703" y="8871"/>
                      <a:pt x="2236" y="9904"/>
                    </a:cubicBezTo>
                    <a:close/>
                    <a:moveTo>
                      <a:pt x="908" y="17742"/>
                    </a:moveTo>
                    <a:lnTo>
                      <a:pt x="1188" y="17742"/>
                    </a:lnTo>
                    <a:cubicBezTo>
                      <a:pt x="1484" y="17742"/>
                      <a:pt x="1645" y="17529"/>
                      <a:pt x="1775" y="17134"/>
                    </a:cubicBezTo>
                    <a:cubicBezTo>
                      <a:pt x="1920" y="16679"/>
                      <a:pt x="2039" y="15919"/>
                      <a:pt x="2039" y="14643"/>
                    </a:cubicBezTo>
                    <a:cubicBezTo>
                      <a:pt x="2039" y="13792"/>
                      <a:pt x="1987" y="13155"/>
                      <a:pt x="1899" y="12760"/>
                    </a:cubicBezTo>
                    <a:cubicBezTo>
                      <a:pt x="1800" y="12304"/>
                      <a:pt x="1650" y="12091"/>
                      <a:pt x="1437" y="12091"/>
                    </a:cubicBezTo>
                    <a:lnTo>
                      <a:pt x="1079" y="12091"/>
                    </a:lnTo>
                    <a:lnTo>
                      <a:pt x="908" y="17742"/>
                    </a:lnTo>
                    <a:close/>
                    <a:moveTo>
                      <a:pt x="1183" y="8658"/>
                    </a:moveTo>
                    <a:lnTo>
                      <a:pt x="1365" y="8658"/>
                    </a:lnTo>
                    <a:cubicBezTo>
                      <a:pt x="1645" y="8658"/>
                      <a:pt x="1800" y="8324"/>
                      <a:pt x="1909" y="7838"/>
                    </a:cubicBezTo>
                    <a:cubicBezTo>
                      <a:pt x="2018" y="7352"/>
                      <a:pt x="2081" y="6623"/>
                      <a:pt x="2081" y="5742"/>
                    </a:cubicBezTo>
                    <a:cubicBezTo>
                      <a:pt x="2081" y="5134"/>
                      <a:pt x="2055" y="4739"/>
                      <a:pt x="1998" y="4405"/>
                    </a:cubicBezTo>
                    <a:cubicBezTo>
                      <a:pt x="1935" y="4071"/>
                      <a:pt x="1831" y="3828"/>
                      <a:pt x="1603" y="3828"/>
                    </a:cubicBezTo>
                    <a:lnTo>
                      <a:pt x="1328" y="3828"/>
                    </a:lnTo>
                    <a:lnTo>
                      <a:pt x="1183" y="8658"/>
                    </a:lnTo>
                    <a:close/>
                    <a:moveTo>
                      <a:pt x="4140" y="17742"/>
                    </a:moveTo>
                    <a:lnTo>
                      <a:pt x="5749" y="17742"/>
                    </a:lnTo>
                    <a:lnTo>
                      <a:pt x="5650" y="21175"/>
                    </a:lnTo>
                    <a:lnTo>
                      <a:pt x="3227" y="21175"/>
                    </a:lnTo>
                    <a:lnTo>
                      <a:pt x="3850" y="395"/>
                    </a:lnTo>
                    <a:lnTo>
                      <a:pt x="6247" y="395"/>
                    </a:lnTo>
                    <a:lnTo>
                      <a:pt x="6081" y="3828"/>
                    </a:lnTo>
                    <a:lnTo>
                      <a:pt x="4556" y="3828"/>
                    </a:lnTo>
                    <a:lnTo>
                      <a:pt x="4405" y="8871"/>
                    </a:lnTo>
                    <a:lnTo>
                      <a:pt x="5624" y="8871"/>
                    </a:lnTo>
                    <a:lnTo>
                      <a:pt x="5515" y="12425"/>
                    </a:lnTo>
                    <a:lnTo>
                      <a:pt x="4296" y="12425"/>
                    </a:lnTo>
                    <a:lnTo>
                      <a:pt x="4140" y="17742"/>
                    </a:lnTo>
                    <a:close/>
                    <a:moveTo>
                      <a:pt x="8540" y="395"/>
                    </a:moveTo>
                    <a:lnTo>
                      <a:pt x="9298" y="11878"/>
                    </a:lnTo>
                    <a:lnTo>
                      <a:pt x="10792" y="395"/>
                    </a:lnTo>
                    <a:lnTo>
                      <a:pt x="11456" y="395"/>
                    </a:lnTo>
                    <a:lnTo>
                      <a:pt x="10834" y="21175"/>
                    </a:lnTo>
                    <a:lnTo>
                      <a:pt x="10092" y="21175"/>
                    </a:lnTo>
                    <a:lnTo>
                      <a:pt x="10450" y="9053"/>
                    </a:lnTo>
                    <a:lnTo>
                      <a:pt x="9495" y="16436"/>
                    </a:lnTo>
                    <a:lnTo>
                      <a:pt x="8872" y="16436"/>
                    </a:lnTo>
                    <a:lnTo>
                      <a:pt x="8354" y="8658"/>
                    </a:lnTo>
                    <a:lnTo>
                      <a:pt x="7975" y="21175"/>
                    </a:lnTo>
                    <a:lnTo>
                      <a:pt x="7295" y="21175"/>
                    </a:lnTo>
                    <a:lnTo>
                      <a:pt x="7918" y="395"/>
                    </a:lnTo>
                    <a:lnTo>
                      <a:pt x="8540" y="395"/>
                    </a:lnTo>
                    <a:close/>
                    <a:moveTo>
                      <a:pt x="11685" y="13640"/>
                    </a:moveTo>
                    <a:cubicBezTo>
                      <a:pt x="11685" y="10451"/>
                      <a:pt x="11820" y="7321"/>
                      <a:pt x="12058" y="4921"/>
                    </a:cubicBezTo>
                    <a:cubicBezTo>
                      <a:pt x="12380" y="1701"/>
                      <a:pt x="12893" y="0"/>
                      <a:pt x="13610" y="0"/>
                    </a:cubicBezTo>
                    <a:cubicBezTo>
                      <a:pt x="14429" y="0"/>
                      <a:pt x="14990" y="2521"/>
                      <a:pt x="14990" y="7959"/>
                    </a:cubicBezTo>
                    <a:cubicBezTo>
                      <a:pt x="14990" y="11149"/>
                      <a:pt x="14855" y="14278"/>
                      <a:pt x="14616" y="16678"/>
                    </a:cubicBezTo>
                    <a:cubicBezTo>
                      <a:pt x="14295" y="19899"/>
                      <a:pt x="13781" y="21600"/>
                      <a:pt x="13065" y="21600"/>
                    </a:cubicBezTo>
                    <a:cubicBezTo>
                      <a:pt x="12245" y="21600"/>
                      <a:pt x="11685" y="19078"/>
                      <a:pt x="11685" y="13640"/>
                    </a:cubicBezTo>
                    <a:close/>
                    <a:moveTo>
                      <a:pt x="12790" y="6775"/>
                    </a:moveTo>
                    <a:cubicBezTo>
                      <a:pt x="12619" y="8688"/>
                      <a:pt x="12520" y="11180"/>
                      <a:pt x="12520" y="13640"/>
                    </a:cubicBezTo>
                    <a:cubicBezTo>
                      <a:pt x="12520" y="16770"/>
                      <a:pt x="12764" y="17894"/>
                      <a:pt x="13127" y="17894"/>
                    </a:cubicBezTo>
                    <a:cubicBezTo>
                      <a:pt x="13469" y="17894"/>
                      <a:pt x="13713" y="16709"/>
                      <a:pt x="13885" y="14825"/>
                    </a:cubicBezTo>
                    <a:cubicBezTo>
                      <a:pt x="14056" y="12912"/>
                      <a:pt x="14154" y="10420"/>
                      <a:pt x="14154" y="7960"/>
                    </a:cubicBezTo>
                    <a:cubicBezTo>
                      <a:pt x="14154" y="4830"/>
                      <a:pt x="13911" y="3706"/>
                      <a:pt x="13547" y="3706"/>
                    </a:cubicBezTo>
                    <a:cubicBezTo>
                      <a:pt x="13205" y="3706"/>
                      <a:pt x="12961" y="4891"/>
                      <a:pt x="12790" y="6775"/>
                    </a:cubicBezTo>
                    <a:close/>
                    <a:moveTo>
                      <a:pt x="18098" y="10177"/>
                    </a:moveTo>
                    <a:cubicBezTo>
                      <a:pt x="17963" y="11271"/>
                      <a:pt x="17745" y="12182"/>
                      <a:pt x="17459" y="12851"/>
                    </a:cubicBezTo>
                    <a:lnTo>
                      <a:pt x="18009" y="21175"/>
                    </a:lnTo>
                    <a:lnTo>
                      <a:pt x="17143" y="21175"/>
                    </a:lnTo>
                    <a:lnTo>
                      <a:pt x="16728" y="13641"/>
                    </a:lnTo>
                    <a:lnTo>
                      <a:pt x="16251" y="13641"/>
                    </a:lnTo>
                    <a:lnTo>
                      <a:pt x="16027" y="21175"/>
                    </a:lnTo>
                    <a:lnTo>
                      <a:pt x="15218" y="21175"/>
                    </a:lnTo>
                    <a:lnTo>
                      <a:pt x="15841" y="395"/>
                    </a:lnTo>
                    <a:lnTo>
                      <a:pt x="17050" y="395"/>
                    </a:lnTo>
                    <a:cubicBezTo>
                      <a:pt x="17491" y="395"/>
                      <a:pt x="17797" y="942"/>
                      <a:pt x="17989" y="1914"/>
                    </a:cubicBezTo>
                    <a:cubicBezTo>
                      <a:pt x="18202" y="2977"/>
                      <a:pt x="18290" y="4526"/>
                      <a:pt x="18290" y="6319"/>
                    </a:cubicBezTo>
                    <a:cubicBezTo>
                      <a:pt x="18290" y="7807"/>
                      <a:pt x="18227" y="9114"/>
                      <a:pt x="18098" y="10177"/>
                    </a:cubicBezTo>
                    <a:close/>
                    <a:moveTo>
                      <a:pt x="16354" y="10208"/>
                    </a:moveTo>
                    <a:lnTo>
                      <a:pt x="16666" y="10208"/>
                    </a:lnTo>
                    <a:cubicBezTo>
                      <a:pt x="16915" y="10208"/>
                      <a:pt x="17138" y="9934"/>
                      <a:pt x="17288" y="9114"/>
                    </a:cubicBezTo>
                    <a:cubicBezTo>
                      <a:pt x="17408" y="8476"/>
                      <a:pt x="17486" y="7443"/>
                      <a:pt x="17486" y="6349"/>
                    </a:cubicBezTo>
                    <a:cubicBezTo>
                      <a:pt x="17486" y="5651"/>
                      <a:pt x="17454" y="5012"/>
                      <a:pt x="17382" y="4587"/>
                    </a:cubicBezTo>
                    <a:cubicBezTo>
                      <a:pt x="17299" y="4101"/>
                      <a:pt x="17169" y="3828"/>
                      <a:pt x="16951" y="3828"/>
                    </a:cubicBezTo>
                    <a:lnTo>
                      <a:pt x="16546" y="3828"/>
                    </a:lnTo>
                    <a:lnTo>
                      <a:pt x="16354" y="10208"/>
                    </a:lnTo>
                    <a:close/>
                    <a:moveTo>
                      <a:pt x="19493" y="17742"/>
                    </a:moveTo>
                    <a:lnTo>
                      <a:pt x="21102" y="17742"/>
                    </a:lnTo>
                    <a:lnTo>
                      <a:pt x="21003" y="21175"/>
                    </a:lnTo>
                    <a:lnTo>
                      <a:pt x="18580" y="21175"/>
                    </a:lnTo>
                    <a:lnTo>
                      <a:pt x="19203" y="395"/>
                    </a:lnTo>
                    <a:lnTo>
                      <a:pt x="21600" y="395"/>
                    </a:lnTo>
                    <a:lnTo>
                      <a:pt x="21434" y="3828"/>
                    </a:lnTo>
                    <a:lnTo>
                      <a:pt x="19909" y="3828"/>
                    </a:lnTo>
                    <a:lnTo>
                      <a:pt x="19758" y="8871"/>
                    </a:lnTo>
                    <a:lnTo>
                      <a:pt x="20977" y="8871"/>
                    </a:lnTo>
                    <a:lnTo>
                      <a:pt x="20868" y="12425"/>
                    </a:lnTo>
                    <a:lnTo>
                      <a:pt x="19649" y="12425"/>
                    </a:lnTo>
                    <a:lnTo>
                      <a:pt x="19493" y="17742"/>
                    </a:lnTo>
                    <a:close/>
                    <a:moveTo>
                      <a:pt x="19493" y="17742"/>
                    </a:moveTo>
                  </a:path>
                </a:pathLst>
              </a:custGeom>
              <a:solidFill>
                <a:srgbClr val="1193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es-ES">
                  <a:solidFill>
                    <a:srgbClr val="FFFFFF"/>
                  </a:solidFill>
                </a:endParaRPr>
              </a:p>
            </p:txBody>
          </p:sp>
          <p:sp>
            <p:nvSpPr>
              <p:cNvPr id="20" name="AutoShape 4"/>
              <p:cNvSpPr>
                <a:spLocks/>
              </p:cNvSpPr>
              <p:nvPr/>
            </p:nvSpPr>
            <p:spPr bwMode="auto">
              <a:xfrm>
                <a:off x="533" y="98"/>
                <a:ext cx="58" cy="13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1600"/>
                  <a:gd name="T19" fmla="*/ 0 h 21600"/>
                  <a:gd name="T20" fmla="*/ 21600 w 21600"/>
                  <a:gd name="T21" fmla="*/ 21600 h 2160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1600" h="21600">
                    <a:moveTo>
                      <a:pt x="0" y="21600"/>
                    </a:moveTo>
                    <a:lnTo>
                      <a:pt x="870" y="0"/>
                    </a:lnTo>
                    <a:lnTo>
                      <a:pt x="21600" y="0"/>
                    </a:lnTo>
                    <a:lnTo>
                      <a:pt x="20730" y="21600"/>
                    </a:lnTo>
                    <a:lnTo>
                      <a:pt x="0" y="21600"/>
                    </a:lnTo>
                    <a:close/>
                    <a:moveTo>
                      <a:pt x="0" y="21600"/>
                    </a:moveTo>
                  </a:path>
                </a:pathLst>
              </a:custGeom>
              <a:solidFill>
                <a:srgbClr val="7DF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es-ES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18" name="22 CuadroTexto"/>
            <p:cNvSpPr txBox="1"/>
            <p:nvPr userDrawn="1"/>
          </p:nvSpPr>
          <p:spPr>
            <a:xfrm>
              <a:off x="68592" y="6597770"/>
              <a:ext cx="2103461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en-US" sz="1000" i="1" kern="0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SCOVER, DISRUPT, DELIV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7046762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lefónica - Subsección_1colum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425880" y="6464175"/>
            <a:ext cx="279065" cy="29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lang="en-US" sz="1000" smtClean="0">
                <a:solidFill>
                  <a:schemeClr val="accent6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fld id="{9D9F8B9A-560A-470D-9EA6-79F5999904E6}" type="slidenum">
              <a:rPr lang="en-GB">
                <a:solidFill>
                  <a:srgbClr val="00C6DA"/>
                </a:solidFill>
              </a:rPr>
              <a:pPr/>
              <a:t>‹Nº›</a:t>
            </a:fld>
            <a:endParaRPr lang="en-GB" dirty="0">
              <a:solidFill>
                <a:srgbClr val="00C6DA"/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82820" y="1218580"/>
            <a:ext cx="8229600" cy="9142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3000" b="0">
                <a:solidFill>
                  <a:schemeClr val="accent6"/>
                </a:solidFill>
              </a:defRPr>
            </a:lvl1pPr>
          </a:lstStyle>
          <a:p>
            <a:r>
              <a:rPr lang="en-GB" dirty="0" smtClean="0"/>
              <a:t>1.-Título </a:t>
            </a:r>
            <a:r>
              <a:rPr lang="en-GB" dirty="0" err="1" smtClean="0"/>
              <a:t>Capítulo</a:t>
            </a:r>
            <a:r>
              <a:rPr lang="en-GB" dirty="0" smtClean="0"/>
              <a:t>, a 30 </a:t>
            </a:r>
            <a:r>
              <a:rPr lang="en-GB" dirty="0" err="1" smtClean="0"/>
              <a:t>puntos</a:t>
            </a:r>
            <a:r>
              <a:rPr lang="en-GB" dirty="0" smtClean="0"/>
              <a:t>_</a:t>
            </a:r>
            <a:endParaRPr lang="en-GB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1547664" y="3439336"/>
            <a:ext cx="6984776" cy="2052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rtl="0" eaLnBrk="0" fontAlgn="base" hangingPunct="0">
              <a:spcBef>
                <a:spcPts val="600"/>
              </a:spcBef>
              <a:spcAft>
                <a:spcPct val="0"/>
              </a:spcAft>
              <a:buSzPct val="171000"/>
              <a:buFont typeface="Gill Sans" pitchFamily="122" charset="0"/>
              <a:buNone/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Gill Sans" pitchFamily="122" charset="0"/>
              </a:defRPr>
            </a:lvl1pPr>
            <a:lvl2pPr marL="0" indent="0" algn="l" rtl="0" eaLnBrk="0" fontAlgn="base" hangingPunct="0">
              <a:spcBef>
                <a:spcPts val="600"/>
              </a:spcBef>
              <a:spcAft>
                <a:spcPct val="0"/>
              </a:spcAft>
              <a:buSzPct val="171000"/>
              <a:buFont typeface="Gill Sans" pitchFamily="122" charset="0"/>
              <a:buNone/>
              <a:defRPr lang="en-US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Gill Sans" pitchFamily="122" charset="0"/>
              </a:defRPr>
            </a:lvl2pPr>
            <a:lvl3pPr marL="0" indent="0" algn="l" rtl="0" eaLnBrk="0" fontAlgn="base" hangingPunct="0">
              <a:spcBef>
                <a:spcPts val="600"/>
              </a:spcBef>
              <a:spcAft>
                <a:spcPct val="0"/>
              </a:spcAft>
              <a:buSzPct val="171000"/>
              <a:buFont typeface="Gill Sans" pitchFamily="122" charset="0"/>
              <a:buNone/>
              <a:defRPr lang="en-US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Gill Sans" pitchFamily="122" charset="0"/>
              </a:defRPr>
            </a:lvl3pPr>
            <a:lvl4pPr marL="0" indent="0" algn="l" rtl="0" eaLnBrk="0" fontAlgn="base" hangingPunct="0">
              <a:spcBef>
                <a:spcPts val="600"/>
              </a:spcBef>
              <a:spcAft>
                <a:spcPct val="0"/>
              </a:spcAft>
              <a:buSzPct val="171000"/>
              <a:buFont typeface="Gill Sans" pitchFamily="122" charset="0"/>
              <a:buNone/>
              <a:defRPr lang="en-US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Gill Sans" pitchFamily="122" charset="0"/>
              </a:defRPr>
            </a:lvl4pPr>
            <a:lvl5pPr marL="0" indent="0" algn="l" rtl="0" eaLnBrk="0" fontAlgn="base" hangingPunct="0">
              <a:spcBef>
                <a:spcPts val="600"/>
              </a:spcBef>
              <a:spcAft>
                <a:spcPct val="0"/>
              </a:spcAft>
              <a:buSzPct val="171000"/>
              <a:buFont typeface="Gill Sans" pitchFamily="122" charset="0"/>
              <a:buNone/>
              <a:defRPr lang="en-GB" sz="16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Gill Sans" pitchFamily="12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algn="l"/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Interdum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volgus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rectum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videt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,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est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ubi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peccat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. Si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veteres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ita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miratur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laudatque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poetas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,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ut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nihil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anteferat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,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nihil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illis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comparet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,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errat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. Si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quaedam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nimis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antique,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si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peraque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dure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dicere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credit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eos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,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ignave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multa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fatetur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, et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sapit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et mecum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facit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et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Iova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iudicat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aequo.Non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equidem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insector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delendave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carmina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Livi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esse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reor</a:t>
            </a:r>
            <a:r>
              <a:rPr lang="en-US" sz="1200" dirty="0" smtClean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, </a:t>
            </a:r>
            <a:endParaRPr lang="en-US" sz="1200" dirty="0">
              <a:solidFill>
                <a:srgbClr val="072534"/>
              </a:solidFill>
              <a:latin typeface="Trebuchet MS" pitchFamily="34" charset="0"/>
              <a:ea typeface="ヒラギノ角ゴ Pro W3" charset="-128"/>
              <a:sym typeface="Trebuchet MS" pitchFamily="34" charset="0"/>
            </a:endParaRP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72329" y="2306638"/>
            <a:ext cx="7560111" cy="47429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>
              <a:spcBef>
                <a:spcPts val="600"/>
              </a:spcBef>
              <a:buNone/>
              <a:defRPr sz="2400" baseline="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spcBef>
                <a:spcPts val="600"/>
              </a:spcBef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spcBef>
                <a:spcPts val="600"/>
              </a:spcBef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600"/>
              </a:spcBef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1.1 </a:t>
            </a:r>
            <a:r>
              <a:rPr lang="en-US" dirty="0" err="1" smtClean="0"/>
              <a:t>Subsección</a:t>
            </a:r>
            <a:r>
              <a:rPr lang="en-US" dirty="0" smtClean="0"/>
              <a:t>, a 24 </a:t>
            </a:r>
            <a:r>
              <a:rPr lang="en-US" dirty="0" err="1" smtClean="0"/>
              <a:t>puntos</a:t>
            </a:r>
            <a:r>
              <a:rPr lang="en-US" dirty="0" smtClean="0"/>
              <a:t>_</a:t>
            </a:r>
            <a:endParaRPr lang="en-GB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547614" y="2852936"/>
            <a:ext cx="6984826" cy="288925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600">
                <a:solidFill>
                  <a:schemeClr val="accent6"/>
                </a:solidFill>
              </a:defRPr>
            </a:lvl1pPr>
            <a:lvl2pPr marL="762000" indent="0">
              <a:buNone/>
              <a:defRPr/>
            </a:lvl2pPr>
            <a:lvl3pPr marL="1206500" indent="0">
              <a:buNone/>
              <a:defRPr/>
            </a:lvl3pPr>
            <a:lvl4pPr marL="1651000" indent="0">
              <a:buNone/>
              <a:defRPr/>
            </a:lvl4pPr>
            <a:lvl5pPr marL="2095500" indent="0">
              <a:buNone/>
              <a:defRPr/>
            </a:lvl5pPr>
          </a:lstStyle>
          <a:p>
            <a:pPr lvl="0"/>
            <a:r>
              <a:rPr lang="en-US" dirty="0" err="1" smtClean="0"/>
              <a:t>Texto</a:t>
            </a:r>
            <a:r>
              <a:rPr lang="en-US" dirty="0" smtClean="0"/>
              <a:t> </a:t>
            </a:r>
            <a:r>
              <a:rPr lang="en-US" dirty="0" err="1" smtClean="0"/>
              <a:t>secundario</a:t>
            </a:r>
            <a:r>
              <a:rPr lang="en-US" dirty="0" smtClean="0"/>
              <a:t> </a:t>
            </a:r>
            <a:r>
              <a:rPr lang="en-US" dirty="0" err="1" smtClean="0"/>
              <a:t>sobre</a:t>
            </a:r>
            <a:r>
              <a:rPr lang="en-US" dirty="0" smtClean="0"/>
              <a:t> la </a:t>
            </a:r>
            <a:r>
              <a:rPr lang="en-US" dirty="0" err="1" smtClean="0"/>
              <a:t>subsección</a:t>
            </a:r>
            <a:r>
              <a:rPr lang="en-US" dirty="0" smtClean="0"/>
              <a:t>, 16 </a:t>
            </a:r>
            <a:r>
              <a:rPr lang="en-US" dirty="0" err="1" smtClean="0"/>
              <a:t>puntos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359047579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2517227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89077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elefónica - Portad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n 1" descr="Viradas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3960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82820" y="1218580"/>
            <a:ext cx="8229600" cy="9142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3000" b="0" baseline="0">
                <a:solidFill>
                  <a:schemeClr val="tx1"/>
                </a:solidFill>
              </a:defRPr>
            </a:lvl1pPr>
          </a:lstStyle>
          <a:p>
            <a:r>
              <a:rPr lang="en-GB" dirty="0" smtClean="0"/>
              <a:t>1.-Portadilla, a 30 </a:t>
            </a:r>
            <a:r>
              <a:rPr lang="en-GB" dirty="0" err="1" smtClean="0"/>
              <a:t>puntos</a:t>
            </a:r>
            <a:r>
              <a:rPr lang="en-GB" dirty="0" smtClean="0"/>
              <a:t>_</a:t>
            </a:r>
            <a:endParaRPr lang="en-GB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72329" y="2306638"/>
            <a:ext cx="5467507" cy="47429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>
              <a:spcBef>
                <a:spcPts val="600"/>
              </a:spcBef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spcBef>
                <a:spcPts val="600"/>
              </a:spcBef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spcBef>
                <a:spcPts val="600"/>
              </a:spcBef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600"/>
              </a:spcBef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err="1" smtClean="0"/>
              <a:t>Texto</a:t>
            </a:r>
            <a:r>
              <a:rPr lang="en-US" dirty="0" smtClean="0"/>
              <a:t> </a:t>
            </a:r>
            <a:r>
              <a:rPr lang="en-US" dirty="0" err="1" smtClean="0"/>
              <a:t>secundario</a:t>
            </a:r>
            <a:r>
              <a:rPr lang="en-US" dirty="0" smtClean="0"/>
              <a:t> </a:t>
            </a:r>
            <a:r>
              <a:rPr lang="en-US" dirty="0" err="1" smtClean="0"/>
              <a:t>sobre</a:t>
            </a:r>
            <a:r>
              <a:rPr lang="en-US" dirty="0" smtClean="0"/>
              <a:t> la </a:t>
            </a:r>
            <a:r>
              <a:rPr lang="en-US" dirty="0" err="1" smtClean="0"/>
              <a:t>portadilla</a:t>
            </a:r>
            <a:r>
              <a:rPr lang="en-US" dirty="0" smtClean="0"/>
              <a:t>, 16 </a:t>
            </a:r>
            <a:r>
              <a:rPr lang="en-US" dirty="0" err="1" smtClean="0"/>
              <a:t>puntos</a:t>
            </a:r>
            <a:endParaRPr lang="en-GB" dirty="0"/>
          </a:p>
        </p:txBody>
      </p:sp>
      <p:sp>
        <p:nvSpPr>
          <p:cNvPr id="10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425880" y="6464175"/>
            <a:ext cx="279065" cy="29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lang="en-US" sz="1000" smtClean="0">
                <a:solidFill>
                  <a:schemeClr val="accent6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fld id="{9D9F8B9A-560A-470D-9EA6-79F5999904E6}" type="slidenum">
              <a:rPr lang="en-GB">
                <a:solidFill>
                  <a:srgbClr val="00C6DA"/>
                </a:solidFill>
              </a:rPr>
              <a:pPr/>
              <a:t>‹Nº›</a:t>
            </a:fld>
            <a:endParaRPr lang="en-GB" dirty="0">
              <a:solidFill>
                <a:srgbClr val="00C6DA"/>
              </a:solidFill>
            </a:endParaRPr>
          </a:p>
        </p:txBody>
      </p:sp>
      <p:sp>
        <p:nvSpPr>
          <p:cNvPr id="11" name="Slide Number Placeholder 2"/>
          <p:cNvSpPr txBox="1">
            <a:spLocks/>
          </p:cNvSpPr>
          <p:nvPr userDrawn="1"/>
        </p:nvSpPr>
        <p:spPr>
          <a:xfrm>
            <a:off x="4425880" y="6464175"/>
            <a:ext cx="279065" cy="29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lang="en-US" sz="1000" smtClean="0">
                <a:solidFill>
                  <a:schemeClr val="accent6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pPr>
              <a:defRPr/>
            </a:pPr>
            <a:fld id="{9D9F8B9A-560A-470D-9EA6-79F5999904E6}" type="slidenum">
              <a:rPr lang="en-GB">
                <a:solidFill>
                  <a:srgbClr val="00C6DA"/>
                </a:solidFill>
              </a:rPr>
              <a:pPr>
                <a:defRPr/>
              </a:pPr>
              <a:t>‹Nº›</a:t>
            </a:fld>
            <a:endParaRPr lang="en-GB" dirty="0">
              <a:solidFill>
                <a:srgbClr val="00C6DA"/>
              </a:solidFill>
            </a:endParaRPr>
          </a:p>
        </p:txBody>
      </p:sp>
      <p:grpSp>
        <p:nvGrpSpPr>
          <p:cNvPr id="16" name="Grupo 15"/>
          <p:cNvGrpSpPr/>
          <p:nvPr userDrawn="1"/>
        </p:nvGrpSpPr>
        <p:grpSpPr>
          <a:xfrm>
            <a:off x="68592" y="6424152"/>
            <a:ext cx="2103461" cy="419839"/>
            <a:chOff x="68592" y="6424152"/>
            <a:chExt cx="2103461" cy="419839"/>
          </a:xfrm>
        </p:grpSpPr>
        <p:grpSp>
          <p:nvGrpSpPr>
            <p:cNvPr id="17" name="Group 5"/>
            <p:cNvGrpSpPr>
              <a:grpSpLocks/>
            </p:cNvGrpSpPr>
            <p:nvPr userDrawn="1"/>
          </p:nvGrpSpPr>
          <p:grpSpPr bwMode="auto">
            <a:xfrm>
              <a:off x="152926" y="6424152"/>
              <a:ext cx="938213" cy="177800"/>
              <a:chOff x="0" y="0"/>
              <a:chExt cx="591" cy="111"/>
            </a:xfrm>
          </p:grpSpPr>
          <p:sp>
            <p:nvSpPr>
              <p:cNvPr id="19" name="AutoShape 3"/>
              <p:cNvSpPr>
                <a:spLocks/>
              </p:cNvSpPr>
              <p:nvPr/>
            </p:nvSpPr>
            <p:spPr bwMode="auto">
              <a:xfrm>
                <a:off x="0" y="0"/>
                <a:ext cx="546" cy="96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w 21600"/>
                  <a:gd name="T13" fmla="*/ 0 h 21600"/>
                  <a:gd name="T14" fmla="*/ 0 w 21600"/>
                  <a:gd name="T15" fmla="*/ 0 h 21600"/>
                  <a:gd name="T16" fmla="*/ 0 w 21600"/>
                  <a:gd name="T17" fmla="*/ 0 h 21600"/>
                  <a:gd name="T18" fmla="*/ 0 w 21600"/>
                  <a:gd name="T19" fmla="*/ 0 h 21600"/>
                  <a:gd name="T20" fmla="*/ 0 w 21600"/>
                  <a:gd name="T21" fmla="*/ 0 h 21600"/>
                  <a:gd name="T22" fmla="*/ 0 w 21600"/>
                  <a:gd name="T23" fmla="*/ 0 h 21600"/>
                  <a:gd name="T24" fmla="*/ 0 w 21600"/>
                  <a:gd name="T25" fmla="*/ 0 h 21600"/>
                  <a:gd name="T26" fmla="*/ 0 w 21600"/>
                  <a:gd name="T27" fmla="*/ 0 h 21600"/>
                  <a:gd name="T28" fmla="*/ 0 w 21600"/>
                  <a:gd name="T29" fmla="*/ 0 h 21600"/>
                  <a:gd name="T30" fmla="*/ 0 w 21600"/>
                  <a:gd name="T31" fmla="*/ 0 h 21600"/>
                  <a:gd name="T32" fmla="*/ 0 w 21600"/>
                  <a:gd name="T33" fmla="*/ 0 h 21600"/>
                  <a:gd name="T34" fmla="*/ 0 w 21600"/>
                  <a:gd name="T35" fmla="*/ 0 h 21600"/>
                  <a:gd name="T36" fmla="*/ 0 w 21600"/>
                  <a:gd name="T37" fmla="*/ 0 h 21600"/>
                  <a:gd name="T38" fmla="*/ 0 w 21600"/>
                  <a:gd name="T39" fmla="*/ 0 h 21600"/>
                  <a:gd name="T40" fmla="*/ 0 w 21600"/>
                  <a:gd name="T41" fmla="*/ 0 h 21600"/>
                  <a:gd name="T42" fmla="*/ 0 w 21600"/>
                  <a:gd name="T43" fmla="*/ 0 h 21600"/>
                  <a:gd name="T44" fmla="*/ 0 w 21600"/>
                  <a:gd name="T45" fmla="*/ 0 h 21600"/>
                  <a:gd name="T46" fmla="*/ 0 w 21600"/>
                  <a:gd name="T47" fmla="*/ 0 h 21600"/>
                  <a:gd name="T48" fmla="*/ 0 w 21600"/>
                  <a:gd name="T49" fmla="*/ 0 h 21600"/>
                  <a:gd name="T50" fmla="*/ 0 w 21600"/>
                  <a:gd name="T51" fmla="*/ 0 h 21600"/>
                  <a:gd name="T52" fmla="*/ 0 w 21600"/>
                  <a:gd name="T53" fmla="*/ 0 h 21600"/>
                  <a:gd name="T54" fmla="*/ 0 w 21600"/>
                  <a:gd name="T55" fmla="*/ 0 h 21600"/>
                  <a:gd name="T56" fmla="*/ 0 w 21600"/>
                  <a:gd name="T57" fmla="*/ 0 h 21600"/>
                  <a:gd name="T58" fmla="*/ 0 w 21600"/>
                  <a:gd name="T59" fmla="*/ 0 h 21600"/>
                  <a:gd name="T60" fmla="*/ 0 w 21600"/>
                  <a:gd name="T61" fmla="*/ 0 h 21600"/>
                  <a:gd name="T62" fmla="*/ 0 w 21600"/>
                  <a:gd name="T63" fmla="*/ 0 h 21600"/>
                  <a:gd name="T64" fmla="*/ 0 w 21600"/>
                  <a:gd name="T65" fmla="*/ 0 h 21600"/>
                  <a:gd name="T66" fmla="*/ 0 w 21600"/>
                  <a:gd name="T67" fmla="*/ 0 h 21600"/>
                  <a:gd name="T68" fmla="*/ 0 w 21600"/>
                  <a:gd name="T69" fmla="*/ 0 h 21600"/>
                  <a:gd name="T70" fmla="*/ 0 w 21600"/>
                  <a:gd name="T71" fmla="*/ 0 h 21600"/>
                  <a:gd name="T72" fmla="*/ 0 w 21600"/>
                  <a:gd name="T73" fmla="*/ 0 h 21600"/>
                  <a:gd name="T74" fmla="*/ 0 w 21600"/>
                  <a:gd name="T75" fmla="*/ 0 h 21600"/>
                  <a:gd name="T76" fmla="*/ 0 w 21600"/>
                  <a:gd name="T77" fmla="*/ 0 h 21600"/>
                  <a:gd name="T78" fmla="*/ 0 w 21600"/>
                  <a:gd name="T79" fmla="*/ 0 h 21600"/>
                  <a:gd name="T80" fmla="*/ 0 w 21600"/>
                  <a:gd name="T81" fmla="*/ 0 h 21600"/>
                  <a:gd name="T82" fmla="*/ 0 w 21600"/>
                  <a:gd name="T83" fmla="*/ 0 h 21600"/>
                  <a:gd name="T84" fmla="*/ 0 w 21600"/>
                  <a:gd name="T85" fmla="*/ 0 h 21600"/>
                  <a:gd name="T86" fmla="*/ 0 w 21600"/>
                  <a:gd name="T87" fmla="*/ 0 h 21600"/>
                  <a:gd name="T88" fmla="*/ 0 w 21600"/>
                  <a:gd name="T89" fmla="*/ 0 h 21600"/>
                  <a:gd name="T90" fmla="*/ 0 w 21600"/>
                  <a:gd name="T91" fmla="*/ 0 h 21600"/>
                  <a:gd name="T92" fmla="*/ 0 w 21600"/>
                  <a:gd name="T93" fmla="*/ 0 h 21600"/>
                  <a:gd name="T94" fmla="*/ 0 w 21600"/>
                  <a:gd name="T95" fmla="*/ 0 h 21600"/>
                  <a:gd name="T96" fmla="*/ 0 w 21600"/>
                  <a:gd name="T97" fmla="*/ 0 h 21600"/>
                  <a:gd name="T98" fmla="*/ 0 w 21600"/>
                  <a:gd name="T99" fmla="*/ 0 h 21600"/>
                  <a:gd name="T100" fmla="*/ 0 w 21600"/>
                  <a:gd name="T101" fmla="*/ 0 h 21600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21600"/>
                  <a:gd name="T154" fmla="*/ 0 h 21600"/>
                  <a:gd name="T155" fmla="*/ 21600 w 21600"/>
                  <a:gd name="T156" fmla="*/ 21600 h 21600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21600" h="21600">
                    <a:moveTo>
                      <a:pt x="2236" y="9904"/>
                    </a:moveTo>
                    <a:cubicBezTo>
                      <a:pt x="2490" y="10359"/>
                      <a:pt x="2636" y="10997"/>
                      <a:pt x="2734" y="11787"/>
                    </a:cubicBezTo>
                    <a:cubicBezTo>
                      <a:pt x="2833" y="12577"/>
                      <a:pt x="2864" y="13428"/>
                      <a:pt x="2864" y="14460"/>
                    </a:cubicBezTo>
                    <a:cubicBezTo>
                      <a:pt x="2864" y="16952"/>
                      <a:pt x="2688" y="18501"/>
                      <a:pt x="2444" y="19473"/>
                    </a:cubicBezTo>
                    <a:cubicBezTo>
                      <a:pt x="2174" y="20567"/>
                      <a:pt x="1764" y="21175"/>
                      <a:pt x="1105" y="21175"/>
                    </a:cubicBezTo>
                    <a:lnTo>
                      <a:pt x="0" y="21175"/>
                    </a:lnTo>
                    <a:lnTo>
                      <a:pt x="623" y="395"/>
                    </a:lnTo>
                    <a:lnTo>
                      <a:pt x="1717" y="395"/>
                    </a:lnTo>
                    <a:cubicBezTo>
                      <a:pt x="2226" y="395"/>
                      <a:pt x="2480" y="942"/>
                      <a:pt x="2636" y="1671"/>
                    </a:cubicBezTo>
                    <a:cubicBezTo>
                      <a:pt x="2823" y="2552"/>
                      <a:pt x="2885" y="3797"/>
                      <a:pt x="2885" y="4982"/>
                    </a:cubicBezTo>
                    <a:cubicBezTo>
                      <a:pt x="2885" y="7017"/>
                      <a:pt x="2703" y="8871"/>
                      <a:pt x="2236" y="9904"/>
                    </a:cubicBezTo>
                    <a:close/>
                    <a:moveTo>
                      <a:pt x="908" y="17742"/>
                    </a:moveTo>
                    <a:lnTo>
                      <a:pt x="1188" y="17742"/>
                    </a:lnTo>
                    <a:cubicBezTo>
                      <a:pt x="1484" y="17742"/>
                      <a:pt x="1645" y="17529"/>
                      <a:pt x="1775" y="17134"/>
                    </a:cubicBezTo>
                    <a:cubicBezTo>
                      <a:pt x="1920" y="16679"/>
                      <a:pt x="2039" y="15919"/>
                      <a:pt x="2039" y="14643"/>
                    </a:cubicBezTo>
                    <a:cubicBezTo>
                      <a:pt x="2039" y="13792"/>
                      <a:pt x="1987" y="13155"/>
                      <a:pt x="1899" y="12760"/>
                    </a:cubicBezTo>
                    <a:cubicBezTo>
                      <a:pt x="1800" y="12304"/>
                      <a:pt x="1650" y="12091"/>
                      <a:pt x="1437" y="12091"/>
                    </a:cubicBezTo>
                    <a:lnTo>
                      <a:pt x="1079" y="12091"/>
                    </a:lnTo>
                    <a:lnTo>
                      <a:pt x="908" y="17742"/>
                    </a:lnTo>
                    <a:close/>
                    <a:moveTo>
                      <a:pt x="1183" y="8658"/>
                    </a:moveTo>
                    <a:lnTo>
                      <a:pt x="1365" y="8658"/>
                    </a:lnTo>
                    <a:cubicBezTo>
                      <a:pt x="1645" y="8658"/>
                      <a:pt x="1800" y="8324"/>
                      <a:pt x="1909" y="7838"/>
                    </a:cubicBezTo>
                    <a:cubicBezTo>
                      <a:pt x="2018" y="7352"/>
                      <a:pt x="2081" y="6623"/>
                      <a:pt x="2081" y="5742"/>
                    </a:cubicBezTo>
                    <a:cubicBezTo>
                      <a:pt x="2081" y="5134"/>
                      <a:pt x="2055" y="4739"/>
                      <a:pt x="1998" y="4405"/>
                    </a:cubicBezTo>
                    <a:cubicBezTo>
                      <a:pt x="1935" y="4071"/>
                      <a:pt x="1831" y="3828"/>
                      <a:pt x="1603" y="3828"/>
                    </a:cubicBezTo>
                    <a:lnTo>
                      <a:pt x="1328" y="3828"/>
                    </a:lnTo>
                    <a:lnTo>
                      <a:pt x="1183" y="8658"/>
                    </a:lnTo>
                    <a:close/>
                    <a:moveTo>
                      <a:pt x="4140" y="17742"/>
                    </a:moveTo>
                    <a:lnTo>
                      <a:pt x="5749" y="17742"/>
                    </a:lnTo>
                    <a:lnTo>
                      <a:pt x="5650" y="21175"/>
                    </a:lnTo>
                    <a:lnTo>
                      <a:pt x="3227" y="21175"/>
                    </a:lnTo>
                    <a:lnTo>
                      <a:pt x="3850" y="395"/>
                    </a:lnTo>
                    <a:lnTo>
                      <a:pt x="6247" y="395"/>
                    </a:lnTo>
                    <a:lnTo>
                      <a:pt x="6081" y="3828"/>
                    </a:lnTo>
                    <a:lnTo>
                      <a:pt x="4556" y="3828"/>
                    </a:lnTo>
                    <a:lnTo>
                      <a:pt x="4405" y="8871"/>
                    </a:lnTo>
                    <a:lnTo>
                      <a:pt x="5624" y="8871"/>
                    </a:lnTo>
                    <a:lnTo>
                      <a:pt x="5515" y="12425"/>
                    </a:lnTo>
                    <a:lnTo>
                      <a:pt x="4296" y="12425"/>
                    </a:lnTo>
                    <a:lnTo>
                      <a:pt x="4140" y="17742"/>
                    </a:lnTo>
                    <a:close/>
                    <a:moveTo>
                      <a:pt x="8540" y="395"/>
                    </a:moveTo>
                    <a:lnTo>
                      <a:pt x="9298" y="11878"/>
                    </a:lnTo>
                    <a:lnTo>
                      <a:pt x="10792" y="395"/>
                    </a:lnTo>
                    <a:lnTo>
                      <a:pt x="11456" y="395"/>
                    </a:lnTo>
                    <a:lnTo>
                      <a:pt x="10834" y="21175"/>
                    </a:lnTo>
                    <a:lnTo>
                      <a:pt x="10092" y="21175"/>
                    </a:lnTo>
                    <a:lnTo>
                      <a:pt x="10450" y="9053"/>
                    </a:lnTo>
                    <a:lnTo>
                      <a:pt x="9495" y="16436"/>
                    </a:lnTo>
                    <a:lnTo>
                      <a:pt x="8872" y="16436"/>
                    </a:lnTo>
                    <a:lnTo>
                      <a:pt x="8354" y="8658"/>
                    </a:lnTo>
                    <a:lnTo>
                      <a:pt x="7975" y="21175"/>
                    </a:lnTo>
                    <a:lnTo>
                      <a:pt x="7295" y="21175"/>
                    </a:lnTo>
                    <a:lnTo>
                      <a:pt x="7918" y="395"/>
                    </a:lnTo>
                    <a:lnTo>
                      <a:pt x="8540" y="395"/>
                    </a:lnTo>
                    <a:close/>
                    <a:moveTo>
                      <a:pt x="11685" y="13640"/>
                    </a:moveTo>
                    <a:cubicBezTo>
                      <a:pt x="11685" y="10451"/>
                      <a:pt x="11820" y="7321"/>
                      <a:pt x="12058" y="4921"/>
                    </a:cubicBezTo>
                    <a:cubicBezTo>
                      <a:pt x="12380" y="1701"/>
                      <a:pt x="12893" y="0"/>
                      <a:pt x="13610" y="0"/>
                    </a:cubicBezTo>
                    <a:cubicBezTo>
                      <a:pt x="14429" y="0"/>
                      <a:pt x="14990" y="2521"/>
                      <a:pt x="14990" y="7959"/>
                    </a:cubicBezTo>
                    <a:cubicBezTo>
                      <a:pt x="14990" y="11149"/>
                      <a:pt x="14855" y="14278"/>
                      <a:pt x="14616" y="16678"/>
                    </a:cubicBezTo>
                    <a:cubicBezTo>
                      <a:pt x="14295" y="19899"/>
                      <a:pt x="13781" y="21600"/>
                      <a:pt x="13065" y="21600"/>
                    </a:cubicBezTo>
                    <a:cubicBezTo>
                      <a:pt x="12245" y="21600"/>
                      <a:pt x="11685" y="19078"/>
                      <a:pt x="11685" y="13640"/>
                    </a:cubicBezTo>
                    <a:close/>
                    <a:moveTo>
                      <a:pt x="12790" y="6775"/>
                    </a:moveTo>
                    <a:cubicBezTo>
                      <a:pt x="12619" y="8688"/>
                      <a:pt x="12520" y="11180"/>
                      <a:pt x="12520" y="13640"/>
                    </a:cubicBezTo>
                    <a:cubicBezTo>
                      <a:pt x="12520" y="16770"/>
                      <a:pt x="12764" y="17894"/>
                      <a:pt x="13127" y="17894"/>
                    </a:cubicBezTo>
                    <a:cubicBezTo>
                      <a:pt x="13469" y="17894"/>
                      <a:pt x="13713" y="16709"/>
                      <a:pt x="13885" y="14825"/>
                    </a:cubicBezTo>
                    <a:cubicBezTo>
                      <a:pt x="14056" y="12912"/>
                      <a:pt x="14154" y="10420"/>
                      <a:pt x="14154" y="7960"/>
                    </a:cubicBezTo>
                    <a:cubicBezTo>
                      <a:pt x="14154" y="4830"/>
                      <a:pt x="13911" y="3706"/>
                      <a:pt x="13547" y="3706"/>
                    </a:cubicBezTo>
                    <a:cubicBezTo>
                      <a:pt x="13205" y="3706"/>
                      <a:pt x="12961" y="4891"/>
                      <a:pt x="12790" y="6775"/>
                    </a:cubicBezTo>
                    <a:close/>
                    <a:moveTo>
                      <a:pt x="18098" y="10177"/>
                    </a:moveTo>
                    <a:cubicBezTo>
                      <a:pt x="17963" y="11271"/>
                      <a:pt x="17745" y="12182"/>
                      <a:pt x="17459" y="12851"/>
                    </a:cubicBezTo>
                    <a:lnTo>
                      <a:pt x="18009" y="21175"/>
                    </a:lnTo>
                    <a:lnTo>
                      <a:pt x="17143" y="21175"/>
                    </a:lnTo>
                    <a:lnTo>
                      <a:pt x="16728" y="13641"/>
                    </a:lnTo>
                    <a:lnTo>
                      <a:pt x="16251" y="13641"/>
                    </a:lnTo>
                    <a:lnTo>
                      <a:pt x="16027" y="21175"/>
                    </a:lnTo>
                    <a:lnTo>
                      <a:pt x="15218" y="21175"/>
                    </a:lnTo>
                    <a:lnTo>
                      <a:pt x="15841" y="395"/>
                    </a:lnTo>
                    <a:lnTo>
                      <a:pt x="17050" y="395"/>
                    </a:lnTo>
                    <a:cubicBezTo>
                      <a:pt x="17491" y="395"/>
                      <a:pt x="17797" y="942"/>
                      <a:pt x="17989" y="1914"/>
                    </a:cubicBezTo>
                    <a:cubicBezTo>
                      <a:pt x="18202" y="2977"/>
                      <a:pt x="18290" y="4526"/>
                      <a:pt x="18290" y="6319"/>
                    </a:cubicBezTo>
                    <a:cubicBezTo>
                      <a:pt x="18290" y="7807"/>
                      <a:pt x="18227" y="9114"/>
                      <a:pt x="18098" y="10177"/>
                    </a:cubicBezTo>
                    <a:close/>
                    <a:moveTo>
                      <a:pt x="16354" y="10208"/>
                    </a:moveTo>
                    <a:lnTo>
                      <a:pt x="16666" y="10208"/>
                    </a:lnTo>
                    <a:cubicBezTo>
                      <a:pt x="16915" y="10208"/>
                      <a:pt x="17138" y="9934"/>
                      <a:pt x="17288" y="9114"/>
                    </a:cubicBezTo>
                    <a:cubicBezTo>
                      <a:pt x="17408" y="8476"/>
                      <a:pt x="17486" y="7443"/>
                      <a:pt x="17486" y="6349"/>
                    </a:cubicBezTo>
                    <a:cubicBezTo>
                      <a:pt x="17486" y="5651"/>
                      <a:pt x="17454" y="5012"/>
                      <a:pt x="17382" y="4587"/>
                    </a:cubicBezTo>
                    <a:cubicBezTo>
                      <a:pt x="17299" y="4101"/>
                      <a:pt x="17169" y="3828"/>
                      <a:pt x="16951" y="3828"/>
                    </a:cubicBezTo>
                    <a:lnTo>
                      <a:pt x="16546" y="3828"/>
                    </a:lnTo>
                    <a:lnTo>
                      <a:pt x="16354" y="10208"/>
                    </a:lnTo>
                    <a:close/>
                    <a:moveTo>
                      <a:pt x="19493" y="17742"/>
                    </a:moveTo>
                    <a:lnTo>
                      <a:pt x="21102" y="17742"/>
                    </a:lnTo>
                    <a:lnTo>
                      <a:pt x="21003" y="21175"/>
                    </a:lnTo>
                    <a:lnTo>
                      <a:pt x="18580" y="21175"/>
                    </a:lnTo>
                    <a:lnTo>
                      <a:pt x="19203" y="395"/>
                    </a:lnTo>
                    <a:lnTo>
                      <a:pt x="21600" y="395"/>
                    </a:lnTo>
                    <a:lnTo>
                      <a:pt x="21434" y="3828"/>
                    </a:lnTo>
                    <a:lnTo>
                      <a:pt x="19909" y="3828"/>
                    </a:lnTo>
                    <a:lnTo>
                      <a:pt x="19758" y="8871"/>
                    </a:lnTo>
                    <a:lnTo>
                      <a:pt x="20977" y="8871"/>
                    </a:lnTo>
                    <a:lnTo>
                      <a:pt x="20868" y="12425"/>
                    </a:lnTo>
                    <a:lnTo>
                      <a:pt x="19649" y="12425"/>
                    </a:lnTo>
                    <a:lnTo>
                      <a:pt x="19493" y="17742"/>
                    </a:lnTo>
                    <a:close/>
                    <a:moveTo>
                      <a:pt x="19493" y="17742"/>
                    </a:moveTo>
                  </a:path>
                </a:pathLst>
              </a:custGeom>
              <a:solidFill>
                <a:srgbClr val="1193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es-ES">
                  <a:solidFill>
                    <a:srgbClr val="FFFFFF"/>
                  </a:solidFill>
                </a:endParaRPr>
              </a:p>
            </p:txBody>
          </p:sp>
          <p:sp>
            <p:nvSpPr>
              <p:cNvPr id="20" name="AutoShape 4"/>
              <p:cNvSpPr>
                <a:spLocks/>
              </p:cNvSpPr>
              <p:nvPr/>
            </p:nvSpPr>
            <p:spPr bwMode="auto">
              <a:xfrm>
                <a:off x="533" y="98"/>
                <a:ext cx="58" cy="13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1600"/>
                  <a:gd name="T19" fmla="*/ 0 h 21600"/>
                  <a:gd name="T20" fmla="*/ 21600 w 21600"/>
                  <a:gd name="T21" fmla="*/ 21600 h 2160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1600" h="21600">
                    <a:moveTo>
                      <a:pt x="0" y="21600"/>
                    </a:moveTo>
                    <a:lnTo>
                      <a:pt x="870" y="0"/>
                    </a:lnTo>
                    <a:lnTo>
                      <a:pt x="21600" y="0"/>
                    </a:lnTo>
                    <a:lnTo>
                      <a:pt x="20730" y="21600"/>
                    </a:lnTo>
                    <a:lnTo>
                      <a:pt x="0" y="21600"/>
                    </a:lnTo>
                    <a:close/>
                    <a:moveTo>
                      <a:pt x="0" y="21600"/>
                    </a:moveTo>
                  </a:path>
                </a:pathLst>
              </a:custGeom>
              <a:solidFill>
                <a:srgbClr val="7DF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es-ES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18" name="22 CuadroTexto"/>
            <p:cNvSpPr txBox="1"/>
            <p:nvPr userDrawn="1"/>
          </p:nvSpPr>
          <p:spPr>
            <a:xfrm>
              <a:off x="68592" y="6597770"/>
              <a:ext cx="2103461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en-US" sz="1000" i="1" kern="0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SCOVER, DISRUPT, DELIVER</a:t>
              </a:r>
            </a:p>
          </p:txBody>
        </p:sp>
      </p:grpSp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5004" y="6455370"/>
            <a:ext cx="1206500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9556511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430887"/>
          </a:xfrm>
        </p:spPr>
        <p:txBody>
          <a:bodyPr/>
          <a:lstStyle/>
          <a:p>
            <a:r>
              <a:rPr lang="en-US" dirty="0" err="1" smtClean="0"/>
              <a:t>Haga</a:t>
            </a:r>
            <a:r>
              <a:rPr lang="en-US" dirty="0" smtClean="0"/>
              <a:t> </a:t>
            </a:r>
            <a:r>
              <a:rPr lang="en-US" dirty="0" err="1" smtClean="0"/>
              <a:t>clic</a:t>
            </a:r>
            <a:r>
              <a:rPr lang="en-US" dirty="0" smtClean="0"/>
              <a:t> </a:t>
            </a:r>
            <a:r>
              <a:rPr lang="en-US" dirty="0" err="1" smtClean="0"/>
              <a:t>para</a:t>
            </a:r>
            <a:r>
              <a:rPr lang="en-US" dirty="0" smtClean="0"/>
              <a:t> </a:t>
            </a:r>
            <a:r>
              <a:rPr lang="en-US" dirty="0" err="1" smtClean="0"/>
              <a:t>modificar</a:t>
            </a:r>
            <a:r>
              <a:rPr lang="en-US" dirty="0" smtClean="0"/>
              <a:t> el </a:t>
            </a:r>
            <a:r>
              <a:rPr lang="en-US" dirty="0" err="1" smtClean="0"/>
              <a:t>estilo</a:t>
            </a:r>
            <a:r>
              <a:rPr lang="en-US" dirty="0" smtClean="0"/>
              <a:t> de </a:t>
            </a:r>
            <a:r>
              <a:rPr lang="en-US" dirty="0" err="1" smtClean="0"/>
              <a:t>título</a:t>
            </a:r>
            <a:r>
              <a:rPr lang="en-US" dirty="0" smtClean="0"/>
              <a:t> del </a:t>
            </a:r>
            <a:r>
              <a:rPr lang="en-US" dirty="0" err="1" smtClean="0"/>
              <a:t>patrón</a:t>
            </a:r>
            <a:endParaRPr lang="en-US" dirty="0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dirty="0" err="1" smtClean="0"/>
              <a:t>Haga</a:t>
            </a:r>
            <a:r>
              <a:rPr lang="en-US" dirty="0" smtClean="0"/>
              <a:t> </a:t>
            </a:r>
            <a:r>
              <a:rPr lang="en-US" dirty="0" err="1" smtClean="0"/>
              <a:t>clic</a:t>
            </a:r>
            <a:r>
              <a:rPr lang="en-US" dirty="0" smtClean="0"/>
              <a:t> </a:t>
            </a:r>
            <a:r>
              <a:rPr lang="en-US" dirty="0" err="1" smtClean="0"/>
              <a:t>para</a:t>
            </a:r>
            <a:r>
              <a:rPr lang="en-US" dirty="0" smtClean="0"/>
              <a:t> </a:t>
            </a:r>
            <a:r>
              <a:rPr lang="en-US" dirty="0" err="1" smtClean="0"/>
              <a:t>modificar</a:t>
            </a:r>
            <a:r>
              <a:rPr lang="en-US" dirty="0" smtClean="0"/>
              <a:t> el </a:t>
            </a:r>
            <a:r>
              <a:rPr lang="en-US" dirty="0" err="1" smtClean="0"/>
              <a:t>estilo</a:t>
            </a:r>
            <a:r>
              <a:rPr lang="en-US" dirty="0" smtClean="0"/>
              <a:t> de </a:t>
            </a:r>
            <a:r>
              <a:rPr lang="en-US" dirty="0" err="1" smtClean="0"/>
              <a:t>subtítulo</a:t>
            </a:r>
            <a:r>
              <a:rPr lang="en-US" dirty="0" smtClean="0"/>
              <a:t> del </a:t>
            </a:r>
            <a:r>
              <a:rPr lang="en-US" dirty="0" err="1" smtClean="0"/>
              <a:t>patró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80412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28588" y="126672"/>
            <a:ext cx="8454499" cy="430887"/>
          </a:xfrm>
        </p:spPr>
        <p:txBody>
          <a:bodyPr/>
          <a:lstStyle>
            <a:lvl1pPr>
              <a:defRPr sz="28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 err="1" smtClean="0"/>
              <a:t>Haga</a:t>
            </a:r>
            <a:r>
              <a:rPr lang="en-US" noProof="0" dirty="0" smtClean="0"/>
              <a:t> </a:t>
            </a:r>
            <a:r>
              <a:rPr lang="en-US" noProof="0" dirty="0" err="1" smtClean="0"/>
              <a:t>clic</a:t>
            </a:r>
            <a:r>
              <a:rPr lang="en-US" noProof="0" dirty="0" smtClean="0"/>
              <a:t> </a:t>
            </a:r>
            <a:r>
              <a:rPr lang="en-US" noProof="0" dirty="0" err="1" smtClean="0"/>
              <a:t>para</a:t>
            </a:r>
            <a:r>
              <a:rPr lang="en-US" noProof="0" dirty="0" smtClean="0"/>
              <a:t> </a:t>
            </a:r>
            <a:r>
              <a:rPr lang="en-US" noProof="0" dirty="0" err="1" smtClean="0"/>
              <a:t>modificar</a:t>
            </a:r>
            <a:r>
              <a:rPr lang="en-US" noProof="0" dirty="0" smtClean="0"/>
              <a:t> el </a:t>
            </a:r>
            <a:r>
              <a:rPr lang="en-US" noProof="0" dirty="0" err="1" smtClean="0"/>
              <a:t>estilo</a:t>
            </a:r>
            <a:r>
              <a:rPr lang="en-US" noProof="0" dirty="0" smtClean="0"/>
              <a:t> de </a:t>
            </a:r>
            <a:r>
              <a:rPr lang="en-US" noProof="0" dirty="0" err="1" smtClean="0"/>
              <a:t>título</a:t>
            </a:r>
            <a:r>
              <a:rPr lang="en-US" noProof="0" dirty="0" smtClean="0"/>
              <a:t> del </a:t>
            </a:r>
            <a:r>
              <a:rPr lang="en-US" noProof="0" dirty="0" err="1" smtClean="0"/>
              <a:t>patrón</a:t>
            </a:r>
            <a:endParaRPr lang="en-US" noProof="0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2"/>
              </a:buClr>
              <a:buSzPct val="17500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buClr>
                <a:schemeClr val="accent2"/>
              </a:buClr>
              <a:buSzPct val="12500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buClr>
                <a:schemeClr val="tx1"/>
              </a:buClr>
              <a:buSzPct val="12500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buClr>
                <a:schemeClr val="tx1"/>
              </a:buClr>
              <a:buSzPct val="12500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buClr>
                <a:schemeClr val="tx1"/>
              </a:buClr>
              <a:buSzPct val="12500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noProof="0" dirty="0" err="1" smtClean="0"/>
              <a:t>Haga</a:t>
            </a:r>
            <a:r>
              <a:rPr lang="en-US" noProof="0" dirty="0" smtClean="0"/>
              <a:t> </a:t>
            </a:r>
            <a:r>
              <a:rPr lang="en-US" noProof="0" dirty="0" err="1" smtClean="0"/>
              <a:t>clic</a:t>
            </a:r>
            <a:r>
              <a:rPr lang="en-US" noProof="0" dirty="0" smtClean="0"/>
              <a:t> </a:t>
            </a:r>
            <a:r>
              <a:rPr lang="en-US" noProof="0" dirty="0" err="1" smtClean="0"/>
              <a:t>para</a:t>
            </a:r>
            <a:r>
              <a:rPr lang="en-US" noProof="0" dirty="0" smtClean="0"/>
              <a:t> </a:t>
            </a:r>
            <a:r>
              <a:rPr lang="en-US" noProof="0" dirty="0" err="1" smtClean="0"/>
              <a:t>modificar</a:t>
            </a:r>
            <a:r>
              <a:rPr lang="en-US" noProof="0" dirty="0" smtClean="0"/>
              <a:t> el </a:t>
            </a:r>
            <a:r>
              <a:rPr lang="en-US" noProof="0" dirty="0" err="1" smtClean="0"/>
              <a:t>estilo</a:t>
            </a:r>
            <a:r>
              <a:rPr lang="en-US" noProof="0" dirty="0" smtClean="0"/>
              <a:t> de </a:t>
            </a:r>
            <a:r>
              <a:rPr lang="en-US" noProof="0" dirty="0" err="1" smtClean="0"/>
              <a:t>texto</a:t>
            </a:r>
            <a:r>
              <a:rPr lang="en-US" noProof="0" dirty="0" smtClean="0"/>
              <a:t> del </a:t>
            </a:r>
            <a:r>
              <a:rPr lang="en-US" noProof="0" dirty="0" err="1" smtClean="0"/>
              <a:t>patrón</a:t>
            </a:r>
            <a:endParaRPr lang="en-US" noProof="0" dirty="0" smtClean="0"/>
          </a:p>
          <a:p>
            <a:pPr lvl="1"/>
            <a:r>
              <a:rPr lang="en-US" noProof="0" dirty="0" smtClean="0"/>
              <a:t>Segundo </a:t>
            </a:r>
            <a:r>
              <a:rPr lang="en-US" noProof="0" dirty="0" err="1" smtClean="0"/>
              <a:t>nivel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ercer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l</a:t>
            </a:r>
            <a:endParaRPr lang="en-US" noProof="0" dirty="0" smtClean="0"/>
          </a:p>
          <a:p>
            <a:pPr lvl="3"/>
            <a:r>
              <a:rPr lang="en-US" noProof="0" dirty="0" smtClean="0"/>
              <a:t>Cuarto </a:t>
            </a:r>
            <a:r>
              <a:rPr lang="en-US" noProof="0" dirty="0" err="1" smtClean="0"/>
              <a:t>nivel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Quinto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427693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Haga</a:t>
            </a:r>
            <a:r>
              <a:rPr lang="en-US" dirty="0" smtClean="0"/>
              <a:t> </a:t>
            </a:r>
            <a:r>
              <a:rPr lang="en-US" dirty="0" err="1" smtClean="0"/>
              <a:t>clic</a:t>
            </a:r>
            <a:r>
              <a:rPr lang="en-US" dirty="0" smtClean="0"/>
              <a:t> </a:t>
            </a:r>
            <a:r>
              <a:rPr lang="en-US" dirty="0" err="1" smtClean="0"/>
              <a:t>para</a:t>
            </a:r>
            <a:r>
              <a:rPr lang="en-US" dirty="0" smtClean="0"/>
              <a:t> </a:t>
            </a:r>
            <a:r>
              <a:rPr lang="en-US" dirty="0" err="1" smtClean="0"/>
              <a:t>modificar</a:t>
            </a:r>
            <a:r>
              <a:rPr lang="en-US" dirty="0" smtClean="0"/>
              <a:t> el </a:t>
            </a:r>
            <a:r>
              <a:rPr lang="en-US" dirty="0" err="1" smtClean="0"/>
              <a:t>estilo</a:t>
            </a:r>
            <a:r>
              <a:rPr lang="en-US" dirty="0" smtClean="0"/>
              <a:t> de </a:t>
            </a:r>
            <a:r>
              <a:rPr lang="en-US" dirty="0" err="1" smtClean="0"/>
              <a:t>título</a:t>
            </a:r>
            <a:r>
              <a:rPr lang="en-US" dirty="0" smtClean="0"/>
              <a:t> del </a:t>
            </a:r>
            <a:r>
              <a:rPr lang="en-US" dirty="0" err="1" smtClean="0"/>
              <a:t>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Haga clic para modificar el estilo de texto del patrón</a:t>
            </a:r>
          </a:p>
          <a:p>
            <a:pPr lvl="1"/>
            <a:r>
              <a:rPr lang="en-US" smtClean="0"/>
              <a:t>Segundo nivel</a:t>
            </a:r>
          </a:p>
          <a:p>
            <a:pPr lvl="2"/>
            <a:r>
              <a:rPr lang="en-US" smtClean="0"/>
              <a:t>Tercer nivel</a:t>
            </a:r>
          </a:p>
          <a:p>
            <a:pPr lvl="3"/>
            <a:r>
              <a:rPr lang="en-US" smtClean="0"/>
              <a:t>Cuarto nivel</a:t>
            </a:r>
          </a:p>
          <a:p>
            <a:pPr lvl="4"/>
            <a:r>
              <a:rPr lang="en-US" smtClean="0"/>
              <a:t>Quinto nivel</a:t>
            </a:r>
            <a:endParaRPr lang="en-US" dirty="0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Haga clic para modificar el estilo de texto del patrón</a:t>
            </a:r>
          </a:p>
          <a:p>
            <a:pPr lvl="1"/>
            <a:r>
              <a:rPr lang="en-US" smtClean="0"/>
              <a:t>Segundo nivel</a:t>
            </a:r>
          </a:p>
          <a:p>
            <a:pPr lvl="2"/>
            <a:r>
              <a:rPr lang="en-US" smtClean="0"/>
              <a:t>Tercer nivel</a:t>
            </a:r>
          </a:p>
          <a:p>
            <a:pPr lvl="3"/>
            <a:r>
              <a:rPr lang="en-US" smtClean="0"/>
              <a:t>Cuarto nivel</a:t>
            </a:r>
          </a:p>
          <a:p>
            <a:pPr lvl="4"/>
            <a:r>
              <a:rPr lang="en-US" smtClean="0"/>
              <a:t>Quinto ni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10857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lefónica - 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425880" y="6464175"/>
            <a:ext cx="279065" cy="29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lang="en-US" sz="1000" smtClean="0">
                <a:solidFill>
                  <a:srgbClr val="072534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fld id="{9D9F8B9A-560A-470D-9EA6-79F5999904E6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1058215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5732971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679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177098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0603060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7154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40185017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19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07072346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19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3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3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44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44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5739793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3051559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9480408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24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1" y="27307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24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60041701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ES" noProof="0" smtClean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5171610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lefónica - Titular dos  lín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9F8B9A-560A-470D-9EA6-79F5999904E6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8460432" y="-1"/>
            <a:ext cx="683568" cy="836613"/>
          </a:xfrm>
          <a:prstGeom prst="rect">
            <a:avLst/>
          </a:prstGeom>
        </p:spPr>
        <p:txBody>
          <a:bodyPr anchor="ctr"/>
          <a:lstStyle>
            <a:lvl1pPr>
              <a:defRPr/>
            </a:lvl1pPr>
          </a:lstStyle>
          <a:p>
            <a:pPr lvl="0"/>
            <a:r>
              <a:rPr lang="en-US" dirty="0" smtClean="0"/>
              <a:t>Nº</a:t>
            </a:r>
            <a:endParaRPr lang="en-GB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 flipH="1">
            <a:off x="-1" y="0"/>
            <a:ext cx="8417169" cy="836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lvl="0"/>
            <a:endParaRPr lang="en-US" sz="2400" dirty="0">
              <a:solidFill>
                <a:srgbClr val="072534"/>
              </a:solidFill>
              <a:latin typeface="Trebuchet MS" pitchFamily="34" charset="0"/>
              <a:ea typeface="ヒラギノ角ゴ Pro W3" charset="-128"/>
              <a:sym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161717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8908172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188913"/>
            <a:ext cx="2057400" cy="5937250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19" y="188913"/>
            <a:ext cx="6019800" cy="5937250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24103169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720677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lefónica - Titular dos  lín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9F8B9A-560A-470D-9EA6-79F5999904E6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8460432" y="-1"/>
            <a:ext cx="683568" cy="836613"/>
          </a:xfrm>
          <a:prstGeom prst="rect">
            <a:avLst/>
          </a:prstGeom>
        </p:spPr>
        <p:txBody>
          <a:bodyPr anchor="ctr"/>
          <a:lstStyle>
            <a:lvl1pPr>
              <a:defRPr/>
            </a:lvl1pPr>
          </a:lstStyle>
          <a:p>
            <a:pPr lvl="0"/>
            <a:r>
              <a:rPr lang="en-US" dirty="0" smtClean="0"/>
              <a:t>Nº</a:t>
            </a:r>
            <a:endParaRPr lang="en-GB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>
          <a:xfrm flipH="1">
            <a:off x="-1" y="0"/>
            <a:ext cx="8417169" cy="836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lvl="0"/>
            <a:r>
              <a:rPr lang="en-GB" dirty="0" smtClean="0"/>
              <a:t>Titular de la </a:t>
            </a:r>
            <a:r>
              <a:rPr lang="en-GB" dirty="0" err="1" smtClean="0"/>
              <a:t>diapositiva</a:t>
            </a:r>
            <a:r>
              <a:rPr lang="en-GB" dirty="0" smtClean="0"/>
              <a:t> (24 </a:t>
            </a:r>
            <a:r>
              <a:rPr lang="en-GB" dirty="0" err="1" smtClean="0"/>
              <a:t>puntos</a:t>
            </a:r>
            <a:r>
              <a:rPr lang="en-GB" dirty="0" smtClean="0"/>
              <a:t> – 1 </a:t>
            </a:r>
            <a:r>
              <a:rPr lang="en-GB" dirty="0" err="1" smtClean="0"/>
              <a:t>línea</a:t>
            </a:r>
            <a:r>
              <a:rPr lang="en-GB" dirty="0" smtClean="0"/>
              <a:t>)</a:t>
            </a:r>
            <a:endParaRPr lang="en-US" sz="2400" dirty="0">
              <a:solidFill>
                <a:srgbClr val="072534"/>
              </a:solidFill>
              <a:latin typeface="Trebuchet MS" pitchFamily="34" charset="0"/>
              <a:ea typeface="ヒラギノ角ゴ Pro W3" charset="-128"/>
              <a:sym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63180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lefónica - 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425880" y="6464175"/>
            <a:ext cx="279065" cy="29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lang="en-US" sz="1000" smtClean="0">
                <a:solidFill>
                  <a:srgbClr val="072534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fld id="{9D9F8B9A-560A-470D-9EA6-79F5999904E6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577064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lefónica - Introdu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425880" y="6464175"/>
            <a:ext cx="279065" cy="29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lang="en-US" sz="1000" smtClean="0">
                <a:solidFill>
                  <a:srgbClr val="072534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fld id="{9D9F8B9A-560A-470D-9EA6-79F5999904E6}" type="slidenum">
              <a:rPr lang="en-GB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7062560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lefónica - Introdu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425880" y="6464175"/>
            <a:ext cx="279065" cy="29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lang="en-US" sz="1000" smtClean="0">
                <a:solidFill>
                  <a:srgbClr val="072534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fld id="{9D9F8B9A-560A-470D-9EA6-79F5999904E6}" type="slidenum">
              <a:rPr lang="en-GB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130022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lefónica - Introdu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425880" y="6464175"/>
            <a:ext cx="279065" cy="29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lang="en-US" sz="1000" smtClean="0">
                <a:solidFill>
                  <a:srgbClr val="072534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fld id="{9D9F8B9A-560A-470D-9EA6-79F5999904E6}" type="slidenum">
              <a:rPr lang="en-GB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1312247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lefónica - Título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8977434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image" Target="../media/image8.png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_rels/slideMaster1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1.xml"/><Relationship Id="rId1" Type="http://schemas.openxmlformats.org/officeDocument/2006/relationships/slideLayout" Target="../slideLayouts/slideLayout3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6.xml"/></Relationships>
</file>

<file path=ppt/slideMasters/_rels/slideMaster5.xml.rels><?xml version="1.0" encoding="UTF-8" standalone="yes"?>
<Relationships xmlns="http://schemas.openxmlformats.org/package/2006/relationships"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7.xml"/></Relationships>
</file>

<file path=ppt/slideMasters/_rels/slideMaster6.xml.rels><?xml version="1.0" encoding="UTF-8" standalone="yes"?>
<Relationships xmlns="http://schemas.openxmlformats.org/package/2006/relationships"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8.xml"/></Relationships>
</file>

<file path=ppt/slideMasters/_rels/slideMaster7.xml.rels><?xml version="1.0" encoding="UTF-8" standalone="yes"?>
<Relationships xmlns="http://schemas.openxmlformats.org/package/2006/relationships"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9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heme" Target="../theme/theme8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2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19.xml"/><Relationship Id="rId7" Type="http://schemas.openxmlformats.org/officeDocument/2006/relationships/tags" Target="../tags/tag1.xml"/><Relationship Id="rId12" Type="http://schemas.openxmlformats.org/officeDocument/2006/relationships/image" Target="../media/image7.jpeg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6.emf"/><Relationship Id="rId5" Type="http://schemas.openxmlformats.org/officeDocument/2006/relationships/theme" Target="../theme/theme9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20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AutoShape 2"/>
          <p:cNvSpPr>
            <a:spLocks/>
          </p:cNvSpPr>
          <p:nvPr userDrawn="1"/>
        </p:nvSpPr>
        <p:spPr bwMode="auto">
          <a:xfrm>
            <a:off x="372208" y="581025"/>
            <a:ext cx="1676400" cy="501650"/>
          </a:xfrm>
          <a:custGeom>
            <a:avLst/>
            <a:gdLst>
              <a:gd name="T0" fmla="*/ 0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2147483647 w 21600"/>
              <a:gd name="T9" fmla="*/ 2147483647 h 21600"/>
              <a:gd name="T10" fmla="*/ 2147483647 w 21600"/>
              <a:gd name="T11" fmla="*/ 2147483647 h 21600"/>
              <a:gd name="T12" fmla="*/ 2147483647 w 21600"/>
              <a:gd name="T13" fmla="*/ 2147483647 h 21600"/>
              <a:gd name="T14" fmla="*/ 2147483647 w 21600"/>
              <a:gd name="T15" fmla="*/ 2147483647 h 21600"/>
              <a:gd name="T16" fmla="*/ 2147483647 w 21600"/>
              <a:gd name="T17" fmla="*/ 2147483647 h 21600"/>
              <a:gd name="T18" fmla="*/ 2147483647 w 21600"/>
              <a:gd name="T19" fmla="*/ 2147483647 h 21600"/>
              <a:gd name="T20" fmla="*/ 2147483647 w 21600"/>
              <a:gd name="T21" fmla="*/ 2147483647 h 21600"/>
              <a:gd name="T22" fmla="*/ 2147483647 w 21600"/>
              <a:gd name="T23" fmla="*/ 2147483647 h 21600"/>
              <a:gd name="T24" fmla="*/ 2147483647 w 21600"/>
              <a:gd name="T25" fmla="*/ 2147483647 h 21600"/>
              <a:gd name="T26" fmla="*/ 2147483647 w 21600"/>
              <a:gd name="T27" fmla="*/ 2147483647 h 21600"/>
              <a:gd name="T28" fmla="*/ 2147483647 w 21600"/>
              <a:gd name="T29" fmla="*/ 2147483647 h 21600"/>
              <a:gd name="T30" fmla="*/ 2147483647 w 21600"/>
              <a:gd name="T31" fmla="*/ 2147483647 h 21600"/>
              <a:gd name="T32" fmla="*/ 2147483647 w 21600"/>
              <a:gd name="T33" fmla="*/ 2147483647 h 21600"/>
              <a:gd name="T34" fmla="*/ 2147483647 w 21600"/>
              <a:gd name="T35" fmla="*/ 2147483647 h 21600"/>
              <a:gd name="T36" fmla="*/ 2147483647 w 21600"/>
              <a:gd name="T37" fmla="*/ 2147483647 h 21600"/>
              <a:gd name="T38" fmla="*/ 2147483647 w 21600"/>
              <a:gd name="T39" fmla="*/ 2147483647 h 21600"/>
              <a:gd name="T40" fmla="*/ 2147483647 w 21600"/>
              <a:gd name="T41" fmla="*/ 2147483647 h 21600"/>
              <a:gd name="T42" fmla="*/ 2147483647 w 21600"/>
              <a:gd name="T43" fmla="*/ 2147483647 h 21600"/>
              <a:gd name="T44" fmla="*/ 2147483647 w 21600"/>
              <a:gd name="T45" fmla="*/ 2147483647 h 21600"/>
              <a:gd name="T46" fmla="*/ 2147483647 w 21600"/>
              <a:gd name="T47" fmla="*/ 2147483647 h 21600"/>
              <a:gd name="T48" fmla="*/ 2147483647 w 21600"/>
              <a:gd name="T49" fmla="*/ 2147483647 h 21600"/>
              <a:gd name="T50" fmla="*/ 2147483647 w 21600"/>
              <a:gd name="T51" fmla="*/ 2147483647 h 21600"/>
              <a:gd name="T52" fmla="*/ 2147483647 w 21600"/>
              <a:gd name="T53" fmla="*/ 2147483647 h 21600"/>
              <a:gd name="T54" fmla="*/ 2147483647 w 21600"/>
              <a:gd name="T55" fmla="*/ 2147483647 h 21600"/>
              <a:gd name="T56" fmla="*/ 2147483647 w 21600"/>
              <a:gd name="T57" fmla="*/ 2147483647 h 21600"/>
              <a:gd name="T58" fmla="*/ 2147483647 w 21600"/>
              <a:gd name="T59" fmla="*/ 2147483647 h 21600"/>
              <a:gd name="T60" fmla="*/ 2147483647 w 21600"/>
              <a:gd name="T61" fmla="*/ 2147483647 h 21600"/>
              <a:gd name="T62" fmla="*/ 2147483647 w 21600"/>
              <a:gd name="T63" fmla="*/ 2147483647 h 21600"/>
              <a:gd name="T64" fmla="*/ 2147483647 w 21600"/>
              <a:gd name="T65" fmla="*/ 2147483647 h 21600"/>
              <a:gd name="T66" fmla="*/ 2147483647 w 21600"/>
              <a:gd name="T67" fmla="*/ 2147483647 h 21600"/>
              <a:gd name="T68" fmla="*/ 2147483647 w 21600"/>
              <a:gd name="T69" fmla="*/ 2147483647 h 21600"/>
              <a:gd name="T70" fmla="*/ 2147483647 w 21600"/>
              <a:gd name="T71" fmla="*/ 2147483647 h 21600"/>
              <a:gd name="T72" fmla="*/ 2147483647 w 21600"/>
              <a:gd name="T73" fmla="*/ 2147483647 h 21600"/>
              <a:gd name="T74" fmla="*/ 2147483647 w 21600"/>
              <a:gd name="T75" fmla="*/ 2147483647 h 21600"/>
              <a:gd name="T76" fmla="*/ 2147483647 w 21600"/>
              <a:gd name="T77" fmla="*/ 2147483647 h 21600"/>
              <a:gd name="T78" fmla="*/ 2147483647 w 21600"/>
              <a:gd name="T79" fmla="*/ 2147483647 h 21600"/>
              <a:gd name="T80" fmla="*/ 2147483647 w 21600"/>
              <a:gd name="T81" fmla="*/ 2147483647 h 21600"/>
              <a:gd name="T82" fmla="*/ 2147483647 w 21600"/>
              <a:gd name="T83" fmla="*/ 2147483647 h 21600"/>
              <a:gd name="T84" fmla="*/ 2147483647 w 21600"/>
              <a:gd name="T85" fmla="*/ 2147483647 h 21600"/>
              <a:gd name="T86" fmla="*/ 2147483647 w 21600"/>
              <a:gd name="T87" fmla="*/ 2147483647 h 21600"/>
              <a:gd name="T88" fmla="*/ 2147483647 w 21600"/>
              <a:gd name="T89" fmla="*/ 2147483647 h 21600"/>
              <a:gd name="T90" fmla="*/ 2147483647 w 21600"/>
              <a:gd name="T91" fmla="*/ 2147483647 h 21600"/>
              <a:gd name="T92" fmla="*/ 2147483647 w 21600"/>
              <a:gd name="T93" fmla="*/ 2147483647 h 21600"/>
              <a:gd name="T94" fmla="*/ 2147483647 w 21600"/>
              <a:gd name="T95" fmla="*/ 2147483647 h 21600"/>
              <a:gd name="T96" fmla="*/ 2147483647 w 21600"/>
              <a:gd name="T97" fmla="*/ 2147483647 h 21600"/>
              <a:gd name="T98" fmla="*/ 2147483647 w 21600"/>
              <a:gd name="T99" fmla="*/ 2147483647 h 21600"/>
              <a:gd name="T100" fmla="*/ 2147483647 w 21600"/>
              <a:gd name="T101" fmla="*/ 2147483647 h 21600"/>
              <a:gd name="T102" fmla="*/ 2147483647 w 21600"/>
              <a:gd name="T103" fmla="*/ 2147483647 h 21600"/>
              <a:gd name="T104" fmla="*/ 2147483647 w 21600"/>
              <a:gd name="T105" fmla="*/ 2147483647 h 2160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21600"/>
              <a:gd name="T160" fmla="*/ 0 h 21600"/>
              <a:gd name="T161" fmla="*/ 21600 w 21600"/>
              <a:gd name="T162" fmla="*/ 21600 h 21600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21600" h="21600">
                <a:moveTo>
                  <a:pt x="21600" y="21064"/>
                </a:moveTo>
                <a:cubicBezTo>
                  <a:pt x="21600" y="20776"/>
                  <a:pt x="16158" y="20540"/>
                  <a:pt x="10801" y="20540"/>
                </a:cubicBezTo>
                <a:cubicBezTo>
                  <a:pt x="5443" y="20540"/>
                  <a:pt x="0" y="20776"/>
                  <a:pt x="0" y="21064"/>
                </a:cubicBezTo>
                <a:cubicBezTo>
                  <a:pt x="0" y="21350"/>
                  <a:pt x="5443" y="21600"/>
                  <a:pt x="10801" y="21600"/>
                </a:cubicBezTo>
                <a:cubicBezTo>
                  <a:pt x="16158" y="21599"/>
                  <a:pt x="21600" y="21350"/>
                  <a:pt x="21600" y="21064"/>
                </a:cubicBezTo>
                <a:close/>
                <a:moveTo>
                  <a:pt x="16099" y="3340"/>
                </a:moveTo>
                <a:cubicBezTo>
                  <a:pt x="16246" y="3334"/>
                  <a:pt x="16394" y="2835"/>
                  <a:pt x="16425" y="2245"/>
                </a:cubicBezTo>
                <a:cubicBezTo>
                  <a:pt x="16461" y="1634"/>
                  <a:pt x="16365" y="1165"/>
                  <a:pt x="16216" y="1179"/>
                </a:cubicBezTo>
                <a:cubicBezTo>
                  <a:pt x="16070" y="1180"/>
                  <a:pt x="15924" y="1670"/>
                  <a:pt x="15889" y="2280"/>
                </a:cubicBezTo>
                <a:cubicBezTo>
                  <a:pt x="15858" y="2875"/>
                  <a:pt x="15949" y="3352"/>
                  <a:pt x="16099" y="3340"/>
                </a:cubicBezTo>
                <a:close/>
                <a:moveTo>
                  <a:pt x="2148" y="6604"/>
                </a:moveTo>
                <a:lnTo>
                  <a:pt x="2183" y="6497"/>
                </a:lnTo>
                <a:cubicBezTo>
                  <a:pt x="2134" y="6207"/>
                  <a:pt x="2116" y="5697"/>
                  <a:pt x="2119" y="5390"/>
                </a:cubicBezTo>
                <a:cubicBezTo>
                  <a:pt x="2136" y="2842"/>
                  <a:pt x="2874" y="1400"/>
                  <a:pt x="4024" y="1400"/>
                </a:cubicBezTo>
                <a:lnTo>
                  <a:pt x="4661" y="1400"/>
                </a:lnTo>
                <a:cubicBezTo>
                  <a:pt x="4291" y="2185"/>
                  <a:pt x="3981" y="3230"/>
                  <a:pt x="3743" y="5197"/>
                </a:cubicBezTo>
                <a:cubicBezTo>
                  <a:pt x="3640" y="6043"/>
                  <a:pt x="3153" y="10591"/>
                  <a:pt x="2954" y="12638"/>
                </a:cubicBezTo>
                <a:cubicBezTo>
                  <a:pt x="2706" y="15072"/>
                  <a:pt x="2548" y="16177"/>
                  <a:pt x="2352" y="16582"/>
                </a:cubicBezTo>
                <a:lnTo>
                  <a:pt x="2385" y="16802"/>
                </a:lnTo>
                <a:cubicBezTo>
                  <a:pt x="2937" y="16925"/>
                  <a:pt x="3266" y="15896"/>
                  <a:pt x="3478" y="13994"/>
                </a:cubicBezTo>
                <a:cubicBezTo>
                  <a:pt x="3680" y="12197"/>
                  <a:pt x="3947" y="9336"/>
                  <a:pt x="4078" y="8064"/>
                </a:cubicBezTo>
                <a:cubicBezTo>
                  <a:pt x="4502" y="3971"/>
                  <a:pt x="4688" y="2248"/>
                  <a:pt x="5026" y="1400"/>
                </a:cubicBezTo>
                <a:cubicBezTo>
                  <a:pt x="5497" y="1389"/>
                  <a:pt x="5951" y="1389"/>
                  <a:pt x="5951" y="1389"/>
                </a:cubicBezTo>
                <a:cubicBezTo>
                  <a:pt x="6458" y="1340"/>
                  <a:pt x="6674" y="880"/>
                  <a:pt x="6832" y="165"/>
                </a:cubicBezTo>
                <a:lnTo>
                  <a:pt x="6796" y="0"/>
                </a:lnTo>
                <a:cubicBezTo>
                  <a:pt x="6670" y="251"/>
                  <a:pt x="6395" y="302"/>
                  <a:pt x="6162" y="303"/>
                </a:cubicBezTo>
                <a:lnTo>
                  <a:pt x="3875" y="303"/>
                </a:lnTo>
                <a:cubicBezTo>
                  <a:pt x="2588" y="303"/>
                  <a:pt x="1799" y="1846"/>
                  <a:pt x="1671" y="4142"/>
                </a:cubicBezTo>
                <a:cubicBezTo>
                  <a:pt x="1608" y="5253"/>
                  <a:pt x="1777" y="6456"/>
                  <a:pt x="2148" y="6604"/>
                </a:cubicBezTo>
                <a:close/>
                <a:moveTo>
                  <a:pt x="6336" y="9602"/>
                </a:moveTo>
                <a:cubicBezTo>
                  <a:pt x="6013" y="11310"/>
                  <a:pt x="5562" y="12860"/>
                  <a:pt x="5174" y="12860"/>
                </a:cubicBezTo>
                <a:cubicBezTo>
                  <a:pt x="5009" y="12881"/>
                  <a:pt x="4936" y="12535"/>
                  <a:pt x="4940" y="11843"/>
                </a:cubicBezTo>
                <a:cubicBezTo>
                  <a:pt x="4940" y="11428"/>
                  <a:pt x="4966" y="10844"/>
                  <a:pt x="4989" y="10550"/>
                </a:cubicBezTo>
                <a:cubicBezTo>
                  <a:pt x="5355" y="9874"/>
                  <a:pt x="5728" y="9115"/>
                  <a:pt x="6060" y="7863"/>
                </a:cubicBezTo>
                <a:cubicBezTo>
                  <a:pt x="6246" y="7137"/>
                  <a:pt x="6370" y="6407"/>
                  <a:pt x="6376" y="5655"/>
                </a:cubicBezTo>
                <a:cubicBezTo>
                  <a:pt x="6380" y="4944"/>
                  <a:pt x="6257" y="4583"/>
                  <a:pt x="6015" y="4569"/>
                </a:cubicBezTo>
                <a:cubicBezTo>
                  <a:pt x="5664" y="4554"/>
                  <a:pt x="5243" y="5429"/>
                  <a:pt x="4968" y="6495"/>
                </a:cubicBezTo>
                <a:cubicBezTo>
                  <a:pt x="4609" y="7927"/>
                  <a:pt x="4332" y="9949"/>
                  <a:pt x="4325" y="11748"/>
                </a:cubicBezTo>
                <a:cubicBezTo>
                  <a:pt x="4321" y="13024"/>
                  <a:pt x="4487" y="14037"/>
                  <a:pt x="4936" y="13977"/>
                </a:cubicBezTo>
                <a:cubicBezTo>
                  <a:pt x="5417" y="13928"/>
                  <a:pt x="5891" y="12574"/>
                  <a:pt x="6133" y="11593"/>
                </a:cubicBezTo>
                <a:cubicBezTo>
                  <a:pt x="6105" y="12014"/>
                  <a:pt x="6085" y="12408"/>
                  <a:pt x="6085" y="12732"/>
                </a:cubicBezTo>
                <a:cubicBezTo>
                  <a:pt x="6085" y="13864"/>
                  <a:pt x="6239" y="14667"/>
                  <a:pt x="6544" y="15009"/>
                </a:cubicBezTo>
                <a:lnTo>
                  <a:pt x="6605" y="14903"/>
                </a:lnTo>
                <a:cubicBezTo>
                  <a:pt x="6578" y="14599"/>
                  <a:pt x="6571" y="14277"/>
                  <a:pt x="6578" y="13919"/>
                </a:cubicBezTo>
                <a:cubicBezTo>
                  <a:pt x="6599" y="12819"/>
                  <a:pt x="6719" y="11576"/>
                  <a:pt x="6894" y="9943"/>
                </a:cubicBezTo>
                <a:cubicBezTo>
                  <a:pt x="7231" y="6855"/>
                  <a:pt x="7720" y="3323"/>
                  <a:pt x="7934" y="1239"/>
                </a:cubicBezTo>
                <a:lnTo>
                  <a:pt x="7422" y="1596"/>
                </a:lnTo>
                <a:cubicBezTo>
                  <a:pt x="7342" y="1656"/>
                  <a:pt x="7292" y="1877"/>
                  <a:pt x="7265" y="2089"/>
                </a:cubicBezTo>
                <a:cubicBezTo>
                  <a:pt x="7018" y="4008"/>
                  <a:pt x="6764" y="6055"/>
                  <a:pt x="6447" y="8720"/>
                </a:cubicBezTo>
                <a:cubicBezTo>
                  <a:pt x="6410" y="9004"/>
                  <a:pt x="6376" y="9305"/>
                  <a:pt x="6336" y="9602"/>
                </a:cubicBezTo>
                <a:close/>
                <a:moveTo>
                  <a:pt x="5856" y="5490"/>
                </a:moveTo>
                <a:cubicBezTo>
                  <a:pt x="5935" y="5490"/>
                  <a:pt x="5963" y="5689"/>
                  <a:pt x="5963" y="5944"/>
                </a:cubicBezTo>
                <a:cubicBezTo>
                  <a:pt x="5963" y="7146"/>
                  <a:pt x="5556" y="8686"/>
                  <a:pt x="5037" y="9810"/>
                </a:cubicBezTo>
                <a:cubicBezTo>
                  <a:pt x="5167" y="7947"/>
                  <a:pt x="5534" y="5472"/>
                  <a:pt x="5856" y="5490"/>
                </a:cubicBezTo>
                <a:close/>
                <a:moveTo>
                  <a:pt x="14619" y="12665"/>
                </a:moveTo>
                <a:cubicBezTo>
                  <a:pt x="14619" y="13518"/>
                  <a:pt x="14767" y="14043"/>
                  <a:pt x="15050" y="14014"/>
                </a:cubicBezTo>
                <a:cubicBezTo>
                  <a:pt x="15344" y="13993"/>
                  <a:pt x="15642" y="13359"/>
                  <a:pt x="15889" y="12489"/>
                </a:cubicBezTo>
                <a:cubicBezTo>
                  <a:pt x="15936" y="13410"/>
                  <a:pt x="16117" y="14077"/>
                  <a:pt x="16488" y="14028"/>
                </a:cubicBezTo>
                <a:cubicBezTo>
                  <a:pt x="16874" y="13977"/>
                  <a:pt x="17243" y="13095"/>
                  <a:pt x="17499" y="12073"/>
                </a:cubicBezTo>
                <a:lnTo>
                  <a:pt x="17499" y="12368"/>
                </a:lnTo>
                <a:cubicBezTo>
                  <a:pt x="17499" y="13315"/>
                  <a:pt x="17633" y="14021"/>
                  <a:pt x="17929" y="14021"/>
                </a:cubicBezTo>
                <a:cubicBezTo>
                  <a:pt x="18248" y="14021"/>
                  <a:pt x="18615" y="13146"/>
                  <a:pt x="18906" y="11641"/>
                </a:cubicBezTo>
                <a:lnTo>
                  <a:pt x="18914" y="11657"/>
                </a:lnTo>
                <a:cubicBezTo>
                  <a:pt x="18888" y="12014"/>
                  <a:pt x="18856" y="12620"/>
                  <a:pt x="18852" y="13025"/>
                </a:cubicBezTo>
                <a:cubicBezTo>
                  <a:pt x="18847" y="14159"/>
                  <a:pt x="19032" y="14816"/>
                  <a:pt x="19289" y="15003"/>
                </a:cubicBezTo>
                <a:lnTo>
                  <a:pt x="19352" y="14911"/>
                </a:lnTo>
                <a:cubicBezTo>
                  <a:pt x="19258" y="14087"/>
                  <a:pt x="19389" y="12036"/>
                  <a:pt x="19444" y="11353"/>
                </a:cubicBezTo>
                <a:cubicBezTo>
                  <a:pt x="19635" y="9107"/>
                  <a:pt x="19938" y="6540"/>
                  <a:pt x="20114" y="5205"/>
                </a:cubicBezTo>
                <a:cubicBezTo>
                  <a:pt x="20034" y="4955"/>
                  <a:pt x="19847" y="4786"/>
                  <a:pt x="19647" y="4753"/>
                </a:cubicBezTo>
                <a:cubicBezTo>
                  <a:pt x="18983" y="4665"/>
                  <a:pt x="18316" y="5664"/>
                  <a:pt x="17830" y="8808"/>
                </a:cubicBezTo>
                <a:cubicBezTo>
                  <a:pt x="17746" y="9356"/>
                  <a:pt x="17655" y="9985"/>
                  <a:pt x="17587" y="10651"/>
                </a:cubicBezTo>
                <a:cubicBezTo>
                  <a:pt x="17518" y="10987"/>
                  <a:pt x="17445" y="11287"/>
                  <a:pt x="17415" y="11395"/>
                </a:cubicBezTo>
                <a:cubicBezTo>
                  <a:pt x="17239" y="12014"/>
                  <a:pt x="16989" y="12807"/>
                  <a:pt x="16735" y="12819"/>
                </a:cubicBezTo>
                <a:cubicBezTo>
                  <a:pt x="16590" y="12829"/>
                  <a:pt x="16510" y="12458"/>
                  <a:pt x="16514" y="11799"/>
                </a:cubicBezTo>
                <a:cubicBezTo>
                  <a:pt x="16516" y="9284"/>
                  <a:pt x="17124" y="5464"/>
                  <a:pt x="17538" y="5454"/>
                </a:cubicBezTo>
                <a:cubicBezTo>
                  <a:pt x="17650" y="5454"/>
                  <a:pt x="17700" y="5635"/>
                  <a:pt x="17700" y="5987"/>
                </a:cubicBezTo>
                <a:cubicBezTo>
                  <a:pt x="17700" y="6406"/>
                  <a:pt x="17621" y="6981"/>
                  <a:pt x="17510" y="7352"/>
                </a:cubicBezTo>
                <a:lnTo>
                  <a:pt x="17558" y="7513"/>
                </a:lnTo>
                <a:cubicBezTo>
                  <a:pt x="17835" y="7124"/>
                  <a:pt x="18093" y="6420"/>
                  <a:pt x="18095" y="5671"/>
                </a:cubicBezTo>
                <a:cubicBezTo>
                  <a:pt x="18095" y="4817"/>
                  <a:pt x="17825" y="4658"/>
                  <a:pt x="17585" y="4665"/>
                </a:cubicBezTo>
                <a:cubicBezTo>
                  <a:pt x="17262" y="4681"/>
                  <a:pt x="16861" y="5257"/>
                  <a:pt x="16539" y="6540"/>
                </a:cubicBezTo>
                <a:cubicBezTo>
                  <a:pt x="16136" y="8149"/>
                  <a:pt x="15927" y="10079"/>
                  <a:pt x="15886" y="11456"/>
                </a:cubicBezTo>
                <a:cubicBezTo>
                  <a:pt x="15702" y="12240"/>
                  <a:pt x="15496" y="12775"/>
                  <a:pt x="15358" y="12781"/>
                </a:cubicBezTo>
                <a:cubicBezTo>
                  <a:pt x="15281" y="12792"/>
                  <a:pt x="15225" y="12639"/>
                  <a:pt x="15224" y="12343"/>
                </a:cubicBezTo>
                <a:cubicBezTo>
                  <a:pt x="15224" y="12081"/>
                  <a:pt x="15266" y="11546"/>
                  <a:pt x="15336" y="10851"/>
                </a:cubicBezTo>
                <a:cubicBezTo>
                  <a:pt x="15515" y="9231"/>
                  <a:pt x="15772" y="7212"/>
                  <a:pt x="16090" y="4811"/>
                </a:cubicBezTo>
                <a:cubicBezTo>
                  <a:pt x="16090" y="4811"/>
                  <a:pt x="15608" y="5106"/>
                  <a:pt x="15538" y="5178"/>
                </a:cubicBezTo>
                <a:cubicBezTo>
                  <a:pt x="15465" y="5246"/>
                  <a:pt x="15409" y="5421"/>
                  <a:pt x="15377" y="5663"/>
                </a:cubicBezTo>
                <a:cubicBezTo>
                  <a:pt x="15170" y="7261"/>
                  <a:pt x="14925" y="9107"/>
                  <a:pt x="14773" y="10483"/>
                </a:cubicBezTo>
                <a:cubicBezTo>
                  <a:pt x="14677" y="11351"/>
                  <a:pt x="14619" y="12173"/>
                  <a:pt x="14619" y="12665"/>
                </a:cubicBezTo>
                <a:close/>
                <a:moveTo>
                  <a:pt x="19138" y="5785"/>
                </a:moveTo>
                <a:cubicBezTo>
                  <a:pt x="19291" y="5520"/>
                  <a:pt x="19420" y="5503"/>
                  <a:pt x="19529" y="5583"/>
                </a:cubicBezTo>
                <a:cubicBezTo>
                  <a:pt x="19488" y="5895"/>
                  <a:pt x="19302" y="7261"/>
                  <a:pt x="19158" y="8490"/>
                </a:cubicBezTo>
                <a:cubicBezTo>
                  <a:pt x="18929" y="10417"/>
                  <a:pt x="18585" y="12362"/>
                  <a:pt x="18267" y="12639"/>
                </a:cubicBezTo>
                <a:cubicBezTo>
                  <a:pt x="18157" y="12754"/>
                  <a:pt x="18093" y="12583"/>
                  <a:pt x="18095" y="12183"/>
                </a:cubicBezTo>
                <a:cubicBezTo>
                  <a:pt x="18104" y="10478"/>
                  <a:pt x="18619" y="6672"/>
                  <a:pt x="19138" y="5785"/>
                </a:cubicBezTo>
                <a:close/>
                <a:moveTo>
                  <a:pt x="7191" y="11749"/>
                </a:moveTo>
                <a:cubicBezTo>
                  <a:pt x="7187" y="12996"/>
                  <a:pt x="7367" y="14037"/>
                  <a:pt x="7828" y="13977"/>
                </a:cubicBezTo>
                <a:cubicBezTo>
                  <a:pt x="8321" y="13929"/>
                  <a:pt x="8771" y="12887"/>
                  <a:pt x="9160" y="11395"/>
                </a:cubicBezTo>
                <a:cubicBezTo>
                  <a:pt x="9062" y="12352"/>
                  <a:pt x="8978" y="13174"/>
                  <a:pt x="8928" y="13618"/>
                </a:cubicBezTo>
                <a:cubicBezTo>
                  <a:pt x="8784" y="14935"/>
                  <a:pt x="8677" y="15997"/>
                  <a:pt x="8456" y="16614"/>
                </a:cubicBezTo>
                <a:lnTo>
                  <a:pt x="8480" y="16775"/>
                </a:lnTo>
                <a:cubicBezTo>
                  <a:pt x="9130" y="16912"/>
                  <a:pt x="9375" y="15243"/>
                  <a:pt x="9643" y="12520"/>
                </a:cubicBezTo>
                <a:cubicBezTo>
                  <a:pt x="9910" y="9793"/>
                  <a:pt x="10137" y="7425"/>
                  <a:pt x="10313" y="5780"/>
                </a:cubicBezTo>
                <a:cubicBezTo>
                  <a:pt x="10598" y="5780"/>
                  <a:pt x="11002" y="5817"/>
                  <a:pt x="11229" y="5631"/>
                </a:cubicBezTo>
                <a:cubicBezTo>
                  <a:pt x="10638" y="6588"/>
                  <a:pt x="10137" y="10023"/>
                  <a:pt x="10196" y="12286"/>
                </a:cubicBezTo>
                <a:cubicBezTo>
                  <a:pt x="10222" y="13286"/>
                  <a:pt x="10386" y="13978"/>
                  <a:pt x="10736" y="13978"/>
                </a:cubicBezTo>
                <a:cubicBezTo>
                  <a:pt x="11413" y="13978"/>
                  <a:pt x="11982" y="11053"/>
                  <a:pt x="12199" y="9126"/>
                </a:cubicBezTo>
                <a:cubicBezTo>
                  <a:pt x="12324" y="8020"/>
                  <a:pt x="12406" y="7075"/>
                  <a:pt x="12420" y="6128"/>
                </a:cubicBezTo>
                <a:cubicBezTo>
                  <a:pt x="12581" y="6026"/>
                  <a:pt x="12735" y="5923"/>
                  <a:pt x="12812" y="5883"/>
                </a:cubicBezTo>
                <a:cubicBezTo>
                  <a:pt x="12960" y="5808"/>
                  <a:pt x="12931" y="6407"/>
                  <a:pt x="12885" y="6856"/>
                </a:cubicBezTo>
                <a:cubicBezTo>
                  <a:pt x="12608" y="9678"/>
                  <a:pt x="12129" y="13774"/>
                  <a:pt x="12127" y="13838"/>
                </a:cubicBezTo>
                <a:lnTo>
                  <a:pt x="12656" y="13838"/>
                </a:lnTo>
                <a:cubicBezTo>
                  <a:pt x="12885" y="12098"/>
                  <a:pt x="13026" y="10986"/>
                  <a:pt x="13209" y="9799"/>
                </a:cubicBezTo>
                <a:cubicBezTo>
                  <a:pt x="13430" y="8408"/>
                  <a:pt x="13922" y="6112"/>
                  <a:pt x="14117" y="6108"/>
                </a:cubicBezTo>
                <a:cubicBezTo>
                  <a:pt x="14187" y="6108"/>
                  <a:pt x="14205" y="6267"/>
                  <a:pt x="14187" y="6515"/>
                </a:cubicBezTo>
                <a:cubicBezTo>
                  <a:pt x="14153" y="7460"/>
                  <a:pt x="13520" y="11075"/>
                  <a:pt x="13530" y="12861"/>
                </a:cubicBezTo>
                <a:cubicBezTo>
                  <a:pt x="13536" y="14028"/>
                  <a:pt x="13704" y="14735"/>
                  <a:pt x="13999" y="15000"/>
                </a:cubicBezTo>
                <a:lnTo>
                  <a:pt x="14060" y="14874"/>
                </a:lnTo>
                <a:cubicBezTo>
                  <a:pt x="14023" y="14619"/>
                  <a:pt x="14018" y="14302"/>
                  <a:pt x="14017" y="13929"/>
                </a:cubicBezTo>
                <a:cubicBezTo>
                  <a:pt x="14012" y="12738"/>
                  <a:pt x="14278" y="10651"/>
                  <a:pt x="14381" y="9842"/>
                </a:cubicBezTo>
                <a:cubicBezTo>
                  <a:pt x="14544" y="8570"/>
                  <a:pt x="14835" y="6713"/>
                  <a:pt x="14816" y="5696"/>
                </a:cubicBezTo>
                <a:cubicBezTo>
                  <a:pt x="14807" y="5197"/>
                  <a:pt x="14704" y="4753"/>
                  <a:pt x="14471" y="4747"/>
                </a:cubicBezTo>
                <a:cubicBezTo>
                  <a:pt x="14040" y="4739"/>
                  <a:pt x="13611" y="6267"/>
                  <a:pt x="13251" y="8318"/>
                </a:cubicBezTo>
                <a:lnTo>
                  <a:pt x="13241" y="8308"/>
                </a:lnTo>
                <a:cubicBezTo>
                  <a:pt x="13385" y="7116"/>
                  <a:pt x="13498" y="6010"/>
                  <a:pt x="13494" y="5471"/>
                </a:cubicBezTo>
                <a:cubicBezTo>
                  <a:pt x="13491" y="4978"/>
                  <a:pt x="13414" y="4785"/>
                  <a:pt x="13253" y="4785"/>
                </a:cubicBezTo>
                <a:cubicBezTo>
                  <a:pt x="13139" y="4797"/>
                  <a:pt x="12985" y="4954"/>
                  <a:pt x="12832" y="5105"/>
                </a:cubicBezTo>
                <a:cubicBezTo>
                  <a:pt x="12619" y="5306"/>
                  <a:pt x="12395" y="5518"/>
                  <a:pt x="12148" y="5706"/>
                </a:cubicBezTo>
                <a:cubicBezTo>
                  <a:pt x="11998" y="5780"/>
                  <a:pt x="11945" y="5882"/>
                  <a:pt x="11950" y="6080"/>
                </a:cubicBezTo>
                <a:cubicBezTo>
                  <a:pt x="11981" y="9212"/>
                  <a:pt x="11397" y="12892"/>
                  <a:pt x="11007" y="12905"/>
                </a:cubicBezTo>
                <a:cubicBezTo>
                  <a:pt x="10840" y="12905"/>
                  <a:pt x="10802" y="12459"/>
                  <a:pt x="10802" y="11843"/>
                </a:cubicBezTo>
                <a:cubicBezTo>
                  <a:pt x="10801" y="9677"/>
                  <a:pt x="11289" y="6041"/>
                  <a:pt x="11765" y="5463"/>
                </a:cubicBezTo>
                <a:cubicBezTo>
                  <a:pt x="11806" y="5421"/>
                  <a:pt x="11847" y="5389"/>
                  <a:pt x="11874" y="5357"/>
                </a:cubicBezTo>
                <a:lnTo>
                  <a:pt x="11935" y="4773"/>
                </a:lnTo>
                <a:cubicBezTo>
                  <a:pt x="11834" y="4850"/>
                  <a:pt x="11593" y="4863"/>
                  <a:pt x="11467" y="4875"/>
                </a:cubicBezTo>
                <a:lnTo>
                  <a:pt x="10421" y="4875"/>
                </a:lnTo>
                <a:cubicBezTo>
                  <a:pt x="10697" y="2471"/>
                  <a:pt x="11085" y="915"/>
                  <a:pt x="11653" y="823"/>
                </a:cubicBezTo>
                <a:cubicBezTo>
                  <a:pt x="12005" y="779"/>
                  <a:pt x="12243" y="1264"/>
                  <a:pt x="12264" y="2003"/>
                </a:cubicBezTo>
                <a:cubicBezTo>
                  <a:pt x="12278" y="2630"/>
                  <a:pt x="12231" y="3141"/>
                  <a:pt x="12093" y="3660"/>
                </a:cubicBezTo>
                <a:lnTo>
                  <a:pt x="12132" y="3802"/>
                </a:lnTo>
                <a:cubicBezTo>
                  <a:pt x="12443" y="3265"/>
                  <a:pt x="12658" y="2353"/>
                  <a:pt x="12659" y="1732"/>
                </a:cubicBezTo>
                <a:cubicBezTo>
                  <a:pt x="12663" y="767"/>
                  <a:pt x="12345" y="175"/>
                  <a:pt x="11837" y="193"/>
                </a:cubicBezTo>
                <a:cubicBezTo>
                  <a:pt x="11191" y="207"/>
                  <a:pt x="10396" y="739"/>
                  <a:pt x="9840" y="4943"/>
                </a:cubicBezTo>
                <a:cubicBezTo>
                  <a:pt x="9674" y="5036"/>
                  <a:pt x="9524" y="5265"/>
                  <a:pt x="9398" y="5758"/>
                </a:cubicBezTo>
                <a:lnTo>
                  <a:pt x="9421" y="5943"/>
                </a:lnTo>
                <a:cubicBezTo>
                  <a:pt x="9511" y="5825"/>
                  <a:pt x="9618" y="5807"/>
                  <a:pt x="9739" y="5807"/>
                </a:cubicBezTo>
                <a:cubicBezTo>
                  <a:pt x="9662" y="6494"/>
                  <a:pt x="9507" y="7990"/>
                  <a:pt x="9354" y="9529"/>
                </a:cubicBezTo>
                <a:cubicBezTo>
                  <a:pt x="8885" y="11784"/>
                  <a:pt x="8415" y="12859"/>
                  <a:pt x="8071" y="12859"/>
                </a:cubicBezTo>
                <a:cubicBezTo>
                  <a:pt x="7883" y="12880"/>
                  <a:pt x="7808" y="12503"/>
                  <a:pt x="7805" y="11842"/>
                </a:cubicBezTo>
                <a:cubicBezTo>
                  <a:pt x="7803" y="11427"/>
                  <a:pt x="7832" y="10850"/>
                  <a:pt x="7854" y="10549"/>
                </a:cubicBezTo>
                <a:cubicBezTo>
                  <a:pt x="8222" y="9873"/>
                  <a:pt x="8592" y="9114"/>
                  <a:pt x="8926" y="7862"/>
                </a:cubicBezTo>
                <a:cubicBezTo>
                  <a:pt x="9110" y="7136"/>
                  <a:pt x="9238" y="6406"/>
                  <a:pt x="9242" y="5654"/>
                </a:cubicBezTo>
                <a:cubicBezTo>
                  <a:pt x="9245" y="4943"/>
                  <a:pt x="9126" y="4582"/>
                  <a:pt x="8880" y="4568"/>
                </a:cubicBezTo>
                <a:cubicBezTo>
                  <a:pt x="8531" y="4553"/>
                  <a:pt x="8109" y="5428"/>
                  <a:pt x="7834" y="6494"/>
                </a:cubicBezTo>
                <a:cubicBezTo>
                  <a:pt x="7475" y="7927"/>
                  <a:pt x="7197" y="9950"/>
                  <a:pt x="7191" y="11749"/>
                </a:cubicBezTo>
                <a:close/>
                <a:moveTo>
                  <a:pt x="8720" y="5490"/>
                </a:moveTo>
                <a:cubicBezTo>
                  <a:pt x="8799" y="5490"/>
                  <a:pt x="8832" y="5689"/>
                  <a:pt x="8832" y="5944"/>
                </a:cubicBezTo>
                <a:cubicBezTo>
                  <a:pt x="8828" y="7146"/>
                  <a:pt x="8425" y="8686"/>
                  <a:pt x="7901" y="9810"/>
                </a:cubicBezTo>
                <a:cubicBezTo>
                  <a:pt x="8033" y="7947"/>
                  <a:pt x="8400" y="5472"/>
                  <a:pt x="8720" y="5490"/>
                </a:cubicBezTo>
                <a:close/>
                <a:moveTo>
                  <a:pt x="8720" y="5490"/>
                </a:moveTo>
              </a:path>
            </a:pathLst>
          </a:custGeom>
          <a:solidFill>
            <a:schemeClr val="accent1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s-ES_tradnl"/>
          </a:p>
        </p:txBody>
      </p:sp>
      <p:grpSp>
        <p:nvGrpSpPr>
          <p:cNvPr id="4099" name="Group 4"/>
          <p:cNvGrpSpPr>
            <a:grpSpLocks/>
          </p:cNvGrpSpPr>
          <p:nvPr userDrawn="1"/>
        </p:nvGrpSpPr>
        <p:grpSpPr bwMode="auto">
          <a:xfrm>
            <a:off x="7630258" y="6437314"/>
            <a:ext cx="1129811" cy="231775"/>
            <a:chOff x="0" y="0"/>
            <a:chExt cx="591" cy="111"/>
          </a:xfrm>
        </p:grpSpPr>
        <p:sp>
          <p:nvSpPr>
            <p:cNvPr id="2056" name="AutoShape 2"/>
            <p:cNvSpPr>
              <a:spLocks/>
            </p:cNvSpPr>
            <p:nvPr/>
          </p:nvSpPr>
          <p:spPr bwMode="auto">
            <a:xfrm>
              <a:off x="0" y="0"/>
              <a:ext cx="546" cy="9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w 21600"/>
                <a:gd name="T17" fmla="*/ 0 h 21600"/>
                <a:gd name="T18" fmla="*/ 0 w 21600"/>
                <a:gd name="T19" fmla="*/ 0 h 21600"/>
                <a:gd name="T20" fmla="*/ 0 w 21600"/>
                <a:gd name="T21" fmla="*/ 0 h 21600"/>
                <a:gd name="T22" fmla="*/ 0 w 21600"/>
                <a:gd name="T23" fmla="*/ 0 h 21600"/>
                <a:gd name="T24" fmla="*/ 0 w 21600"/>
                <a:gd name="T25" fmla="*/ 0 h 21600"/>
                <a:gd name="T26" fmla="*/ 0 w 21600"/>
                <a:gd name="T27" fmla="*/ 0 h 21600"/>
                <a:gd name="T28" fmla="*/ 0 w 21600"/>
                <a:gd name="T29" fmla="*/ 0 h 21600"/>
                <a:gd name="T30" fmla="*/ 0 w 21600"/>
                <a:gd name="T31" fmla="*/ 0 h 21600"/>
                <a:gd name="T32" fmla="*/ 0 w 21600"/>
                <a:gd name="T33" fmla="*/ 0 h 21600"/>
                <a:gd name="T34" fmla="*/ 0 w 21600"/>
                <a:gd name="T35" fmla="*/ 0 h 21600"/>
                <a:gd name="T36" fmla="*/ 0 w 21600"/>
                <a:gd name="T37" fmla="*/ 0 h 21600"/>
                <a:gd name="T38" fmla="*/ 0 w 21600"/>
                <a:gd name="T39" fmla="*/ 0 h 21600"/>
                <a:gd name="T40" fmla="*/ 0 w 21600"/>
                <a:gd name="T41" fmla="*/ 0 h 21600"/>
                <a:gd name="T42" fmla="*/ 0 w 21600"/>
                <a:gd name="T43" fmla="*/ 0 h 21600"/>
                <a:gd name="T44" fmla="*/ 0 w 21600"/>
                <a:gd name="T45" fmla="*/ 0 h 21600"/>
                <a:gd name="T46" fmla="*/ 0 w 21600"/>
                <a:gd name="T47" fmla="*/ 0 h 21600"/>
                <a:gd name="T48" fmla="*/ 0 w 21600"/>
                <a:gd name="T49" fmla="*/ 0 h 21600"/>
                <a:gd name="T50" fmla="*/ 0 w 21600"/>
                <a:gd name="T51" fmla="*/ 0 h 21600"/>
                <a:gd name="T52" fmla="*/ 0 w 21600"/>
                <a:gd name="T53" fmla="*/ 0 h 21600"/>
                <a:gd name="T54" fmla="*/ 0 w 21600"/>
                <a:gd name="T55" fmla="*/ 0 h 21600"/>
                <a:gd name="T56" fmla="*/ 0 w 21600"/>
                <a:gd name="T57" fmla="*/ 0 h 21600"/>
                <a:gd name="T58" fmla="*/ 0 w 21600"/>
                <a:gd name="T59" fmla="*/ 0 h 21600"/>
                <a:gd name="T60" fmla="*/ 0 w 21600"/>
                <a:gd name="T61" fmla="*/ 0 h 21600"/>
                <a:gd name="T62" fmla="*/ 0 w 21600"/>
                <a:gd name="T63" fmla="*/ 0 h 21600"/>
                <a:gd name="T64" fmla="*/ 0 w 21600"/>
                <a:gd name="T65" fmla="*/ 0 h 21600"/>
                <a:gd name="T66" fmla="*/ 0 w 21600"/>
                <a:gd name="T67" fmla="*/ 0 h 21600"/>
                <a:gd name="T68" fmla="*/ 0 w 21600"/>
                <a:gd name="T69" fmla="*/ 0 h 21600"/>
                <a:gd name="T70" fmla="*/ 0 w 21600"/>
                <a:gd name="T71" fmla="*/ 0 h 21600"/>
                <a:gd name="T72" fmla="*/ 0 w 21600"/>
                <a:gd name="T73" fmla="*/ 0 h 21600"/>
                <a:gd name="T74" fmla="*/ 0 w 21600"/>
                <a:gd name="T75" fmla="*/ 0 h 21600"/>
                <a:gd name="T76" fmla="*/ 0 w 21600"/>
                <a:gd name="T77" fmla="*/ 0 h 21600"/>
                <a:gd name="T78" fmla="*/ 0 w 21600"/>
                <a:gd name="T79" fmla="*/ 0 h 21600"/>
                <a:gd name="T80" fmla="*/ 0 w 21600"/>
                <a:gd name="T81" fmla="*/ 0 h 21600"/>
                <a:gd name="T82" fmla="*/ 0 w 21600"/>
                <a:gd name="T83" fmla="*/ 0 h 21600"/>
                <a:gd name="T84" fmla="*/ 0 w 21600"/>
                <a:gd name="T85" fmla="*/ 0 h 21600"/>
                <a:gd name="T86" fmla="*/ 0 w 21600"/>
                <a:gd name="T87" fmla="*/ 0 h 21600"/>
                <a:gd name="T88" fmla="*/ 0 w 21600"/>
                <a:gd name="T89" fmla="*/ 0 h 21600"/>
                <a:gd name="T90" fmla="*/ 0 w 21600"/>
                <a:gd name="T91" fmla="*/ 0 h 21600"/>
                <a:gd name="T92" fmla="*/ 0 w 21600"/>
                <a:gd name="T93" fmla="*/ 0 h 21600"/>
                <a:gd name="T94" fmla="*/ 0 w 21600"/>
                <a:gd name="T95" fmla="*/ 0 h 21600"/>
                <a:gd name="T96" fmla="*/ 0 w 21600"/>
                <a:gd name="T97" fmla="*/ 0 h 21600"/>
                <a:gd name="T98" fmla="*/ 0 w 21600"/>
                <a:gd name="T99" fmla="*/ 0 h 21600"/>
                <a:gd name="T100" fmla="*/ 0 w 21600"/>
                <a:gd name="T101" fmla="*/ 0 h 2160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1600"/>
                <a:gd name="T154" fmla="*/ 0 h 21600"/>
                <a:gd name="T155" fmla="*/ 21600 w 21600"/>
                <a:gd name="T156" fmla="*/ 21600 h 2160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1600" h="21600">
                  <a:moveTo>
                    <a:pt x="2236" y="9904"/>
                  </a:moveTo>
                  <a:cubicBezTo>
                    <a:pt x="2490" y="10359"/>
                    <a:pt x="2636" y="10997"/>
                    <a:pt x="2734" y="11787"/>
                  </a:cubicBezTo>
                  <a:cubicBezTo>
                    <a:pt x="2833" y="12577"/>
                    <a:pt x="2864" y="13428"/>
                    <a:pt x="2864" y="14460"/>
                  </a:cubicBezTo>
                  <a:cubicBezTo>
                    <a:pt x="2864" y="16952"/>
                    <a:pt x="2688" y="18501"/>
                    <a:pt x="2444" y="19473"/>
                  </a:cubicBezTo>
                  <a:cubicBezTo>
                    <a:pt x="2174" y="20567"/>
                    <a:pt x="1764" y="21175"/>
                    <a:pt x="1105" y="21175"/>
                  </a:cubicBezTo>
                  <a:lnTo>
                    <a:pt x="0" y="21175"/>
                  </a:lnTo>
                  <a:lnTo>
                    <a:pt x="623" y="395"/>
                  </a:lnTo>
                  <a:lnTo>
                    <a:pt x="1717" y="395"/>
                  </a:lnTo>
                  <a:cubicBezTo>
                    <a:pt x="2226" y="395"/>
                    <a:pt x="2480" y="942"/>
                    <a:pt x="2636" y="1671"/>
                  </a:cubicBezTo>
                  <a:cubicBezTo>
                    <a:pt x="2823" y="2552"/>
                    <a:pt x="2885" y="3797"/>
                    <a:pt x="2885" y="4982"/>
                  </a:cubicBezTo>
                  <a:cubicBezTo>
                    <a:pt x="2885" y="7017"/>
                    <a:pt x="2703" y="8871"/>
                    <a:pt x="2236" y="9904"/>
                  </a:cubicBezTo>
                  <a:close/>
                  <a:moveTo>
                    <a:pt x="908" y="17742"/>
                  </a:moveTo>
                  <a:lnTo>
                    <a:pt x="1188" y="17742"/>
                  </a:lnTo>
                  <a:cubicBezTo>
                    <a:pt x="1484" y="17742"/>
                    <a:pt x="1645" y="17529"/>
                    <a:pt x="1775" y="17134"/>
                  </a:cubicBezTo>
                  <a:cubicBezTo>
                    <a:pt x="1920" y="16679"/>
                    <a:pt x="2039" y="15919"/>
                    <a:pt x="2039" y="14643"/>
                  </a:cubicBezTo>
                  <a:cubicBezTo>
                    <a:pt x="2039" y="13792"/>
                    <a:pt x="1987" y="13155"/>
                    <a:pt x="1899" y="12760"/>
                  </a:cubicBezTo>
                  <a:cubicBezTo>
                    <a:pt x="1800" y="12304"/>
                    <a:pt x="1650" y="12091"/>
                    <a:pt x="1437" y="12091"/>
                  </a:cubicBezTo>
                  <a:lnTo>
                    <a:pt x="1079" y="12091"/>
                  </a:lnTo>
                  <a:lnTo>
                    <a:pt x="908" y="17742"/>
                  </a:lnTo>
                  <a:close/>
                  <a:moveTo>
                    <a:pt x="1183" y="8658"/>
                  </a:moveTo>
                  <a:lnTo>
                    <a:pt x="1365" y="8658"/>
                  </a:lnTo>
                  <a:cubicBezTo>
                    <a:pt x="1645" y="8658"/>
                    <a:pt x="1800" y="8324"/>
                    <a:pt x="1909" y="7838"/>
                  </a:cubicBezTo>
                  <a:cubicBezTo>
                    <a:pt x="2018" y="7352"/>
                    <a:pt x="2081" y="6623"/>
                    <a:pt x="2081" y="5742"/>
                  </a:cubicBezTo>
                  <a:cubicBezTo>
                    <a:pt x="2081" y="5134"/>
                    <a:pt x="2055" y="4739"/>
                    <a:pt x="1998" y="4405"/>
                  </a:cubicBezTo>
                  <a:cubicBezTo>
                    <a:pt x="1935" y="4071"/>
                    <a:pt x="1831" y="3828"/>
                    <a:pt x="1603" y="3828"/>
                  </a:cubicBezTo>
                  <a:lnTo>
                    <a:pt x="1328" y="3828"/>
                  </a:lnTo>
                  <a:lnTo>
                    <a:pt x="1183" y="8658"/>
                  </a:lnTo>
                  <a:close/>
                  <a:moveTo>
                    <a:pt x="4140" y="17742"/>
                  </a:moveTo>
                  <a:lnTo>
                    <a:pt x="5749" y="17742"/>
                  </a:lnTo>
                  <a:lnTo>
                    <a:pt x="5650" y="21175"/>
                  </a:lnTo>
                  <a:lnTo>
                    <a:pt x="3227" y="21175"/>
                  </a:lnTo>
                  <a:lnTo>
                    <a:pt x="3850" y="395"/>
                  </a:lnTo>
                  <a:lnTo>
                    <a:pt x="6247" y="395"/>
                  </a:lnTo>
                  <a:lnTo>
                    <a:pt x="6081" y="3828"/>
                  </a:lnTo>
                  <a:lnTo>
                    <a:pt x="4556" y="3828"/>
                  </a:lnTo>
                  <a:lnTo>
                    <a:pt x="4405" y="8871"/>
                  </a:lnTo>
                  <a:lnTo>
                    <a:pt x="5624" y="8871"/>
                  </a:lnTo>
                  <a:lnTo>
                    <a:pt x="5515" y="12425"/>
                  </a:lnTo>
                  <a:lnTo>
                    <a:pt x="4296" y="12425"/>
                  </a:lnTo>
                  <a:lnTo>
                    <a:pt x="4140" y="17742"/>
                  </a:lnTo>
                  <a:close/>
                  <a:moveTo>
                    <a:pt x="8540" y="395"/>
                  </a:moveTo>
                  <a:lnTo>
                    <a:pt x="9298" y="11878"/>
                  </a:lnTo>
                  <a:lnTo>
                    <a:pt x="10792" y="395"/>
                  </a:lnTo>
                  <a:lnTo>
                    <a:pt x="11456" y="395"/>
                  </a:lnTo>
                  <a:lnTo>
                    <a:pt x="10834" y="21175"/>
                  </a:lnTo>
                  <a:lnTo>
                    <a:pt x="10092" y="21175"/>
                  </a:lnTo>
                  <a:lnTo>
                    <a:pt x="10450" y="9053"/>
                  </a:lnTo>
                  <a:lnTo>
                    <a:pt x="9495" y="16436"/>
                  </a:lnTo>
                  <a:lnTo>
                    <a:pt x="8872" y="16436"/>
                  </a:lnTo>
                  <a:lnTo>
                    <a:pt x="8354" y="8658"/>
                  </a:lnTo>
                  <a:lnTo>
                    <a:pt x="7975" y="21175"/>
                  </a:lnTo>
                  <a:lnTo>
                    <a:pt x="7295" y="21175"/>
                  </a:lnTo>
                  <a:lnTo>
                    <a:pt x="7918" y="395"/>
                  </a:lnTo>
                  <a:lnTo>
                    <a:pt x="8540" y="395"/>
                  </a:lnTo>
                  <a:close/>
                  <a:moveTo>
                    <a:pt x="11685" y="13640"/>
                  </a:moveTo>
                  <a:cubicBezTo>
                    <a:pt x="11685" y="10451"/>
                    <a:pt x="11820" y="7321"/>
                    <a:pt x="12058" y="4921"/>
                  </a:cubicBezTo>
                  <a:cubicBezTo>
                    <a:pt x="12380" y="1701"/>
                    <a:pt x="12893" y="0"/>
                    <a:pt x="13610" y="0"/>
                  </a:cubicBezTo>
                  <a:cubicBezTo>
                    <a:pt x="14429" y="0"/>
                    <a:pt x="14990" y="2521"/>
                    <a:pt x="14990" y="7959"/>
                  </a:cubicBezTo>
                  <a:cubicBezTo>
                    <a:pt x="14990" y="11149"/>
                    <a:pt x="14855" y="14278"/>
                    <a:pt x="14616" y="16678"/>
                  </a:cubicBezTo>
                  <a:cubicBezTo>
                    <a:pt x="14295" y="19899"/>
                    <a:pt x="13781" y="21600"/>
                    <a:pt x="13065" y="21600"/>
                  </a:cubicBezTo>
                  <a:cubicBezTo>
                    <a:pt x="12245" y="21600"/>
                    <a:pt x="11685" y="19078"/>
                    <a:pt x="11685" y="13640"/>
                  </a:cubicBezTo>
                  <a:close/>
                  <a:moveTo>
                    <a:pt x="12790" y="6775"/>
                  </a:moveTo>
                  <a:cubicBezTo>
                    <a:pt x="12619" y="8688"/>
                    <a:pt x="12520" y="11180"/>
                    <a:pt x="12520" y="13640"/>
                  </a:cubicBezTo>
                  <a:cubicBezTo>
                    <a:pt x="12520" y="16770"/>
                    <a:pt x="12764" y="17894"/>
                    <a:pt x="13127" y="17894"/>
                  </a:cubicBezTo>
                  <a:cubicBezTo>
                    <a:pt x="13469" y="17894"/>
                    <a:pt x="13713" y="16709"/>
                    <a:pt x="13885" y="14825"/>
                  </a:cubicBezTo>
                  <a:cubicBezTo>
                    <a:pt x="14056" y="12912"/>
                    <a:pt x="14154" y="10420"/>
                    <a:pt x="14154" y="7960"/>
                  </a:cubicBezTo>
                  <a:cubicBezTo>
                    <a:pt x="14154" y="4830"/>
                    <a:pt x="13911" y="3706"/>
                    <a:pt x="13547" y="3706"/>
                  </a:cubicBezTo>
                  <a:cubicBezTo>
                    <a:pt x="13205" y="3706"/>
                    <a:pt x="12961" y="4891"/>
                    <a:pt x="12790" y="6775"/>
                  </a:cubicBezTo>
                  <a:close/>
                  <a:moveTo>
                    <a:pt x="18098" y="10177"/>
                  </a:moveTo>
                  <a:cubicBezTo>
                    <a:pt x="17963" y="11271"/>
                    <a:pt x="17745" y="12182"/>
                    <a:pt x="17459" y="12851"/>
                  </a:cubicBezTo>
                  <a:lnTo>
                    <a:pt x="18009" y="21175"/>
                  </a:lnTo>
                  <a:lnTo>
                    <a:pt x="17143" y="21175"/>
                  </a:lnTo>
                  <a:lnTo>
                    <a:pt x="16728" y="13641"/>
                  </a:lnTo>
                  <a:lnTo>
                    <a:pt x="16251" y="13641"/>
                  </a:lnTo>
                  <a:lnTo>
                    <a:pt x="16027" y="21175"/>
                  </a:lnTo>
                  <a:lnTo>
                    <a:pt x="15218" y="21175"/>
                  </a:lnTo>
                  <a:lnTo>
                    <a:pt x="15841" y="395"/>
                  </a:lnTo>
                  <a:lnTo>
                    <a:pt x="17050" y="395"/>
                  </a:lnTo>
                  <a:cubicBezTo>
                    <a:pt x="17491" y="395"/>
                    <a:pt x="17797" y="942"/>
                    <a:pt x="17989" y="1914"/>
                  </a:cubicBezTo>
                  <a:cubicBezTo>
                    <a:pt x="18202" y="2977"/>
                    <a:pt x="18290" y="4526"/>
                    <a:pt x="18290" y="6319"/>
                  </a:cubicBezTo>
                  <a:cubicBezTo>
                    <a:pt x="18290" y="7807"/>
                    <a:pt x="18227" y="9114"/>
                    <a:pt x="18098" y="10177"/>
                  </a:cubicBezTo>
                  <a:close/>
                  <a:moveTo>
                    <a:pt x="16354" y="10208"/>
                  </a:moveTo>
                  <a:lnTo>
                    <a:pt x="16666" y="10208"/>
                  </a:lnTo>
                  <a:cubicBezTo>
                    <a:pt x="16915" y="10208"/>
                    <a:pt x="17138" y="9934"/>
                    <a:pt x="17288" y="9114"/>
                  </a:cubicBezTo>
                  <a:cubicBezTo>
                    <a:pt x="17408" y="8476"/>
                    <a:pt x="17486" y="7443"/>
                    <a:pt x="17486" y="6349"/>
                  </a:cubicBezTo>
                  <a:cubicBezTo>
                    <a:pt x="17486" y="5651"/>
                    <a:pt x="17454" y="5012"/>
                    <a:pt x="17382" y="4587"/>
                  </a:cubicBezTo>
                  <a:cubicBezTo>
                    <a:pt x="17299" y="4101"/>
                    <a:pt x="17169" y="3828"/>
                    <a:pt x="16951" y="3828"/>
                  </a:cubicBezTo>
                  <a:lnTo>
                    <a:pt x="16546" y="3828"/>
                  </a:lnTo>
                  <a:lnTo>
                    <a:pt x="16354" y="10208"/>
                  </a:lnTo>
                  <a:close/>
                  <a:moveTo>
                    <a:pt x="19493" y="17742"/>
                  </a:moveTo>
                  <a:lnTo>
                    <a:pt x="21102" y="17742"/>
                  </a:lnTo>
                  <a:lnTo>
                    <a:pt x="21003" y="21175"/>
                  </a:lnTo>
                  <a:lnTo>
                    <a:pt x="18580" y="21175"/>
                  </a:lnTo>
                  <a:lnTo>
                    <a:pt x="19203" y="395"/>
                  </a:lnTo>
                  <a:lnTo>
                    <a:pt x="21600" y="395"/>
                  </a:lnTo>
                  <a:lnTo>
                    <a:pt x="21434" y="3828"/>
                  </a:lnTo>
                  <a:lnTo>
                    <a:pt x="19909" y="3828"/>
                  </a:lnTo>
                  <a:lnTo>
                    <a:pt x="19758" y="8871"/>
                  </a:lnTo>
                  <a:lnTo>
                    <a:pt x="20977" y="8871"/>
                  </a:lnTo>
                  <a:lnTo>
                    <a:pt x="20868" y="12425"/>
                  </a:lnTo>
                  <a:lnTo>
                    <a:pt x="19649" y="12425"/>
                  </a:lnTo>
                  <a:lnTo>
                    <a:pt x="19493" y="17742"/>
                  </a:lnTo>
                  <a:close/>
                  <a:moveTo>
                    <a:pt x="19493" y="17742"/>
                  </a:moveTo>
                </a:path>
              </a:pathLst>
            </a:custGeom>
            <a:solidFill>
              <a:schemeClr val="accent1"/>
            </a:solidFill>
            <a:ln w="25400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s-ES_tradnl"/>
            </a:p>
          </p:txBody>
        </p:sp>
        <p:sp>
          <p:nvSpPr>
            <p:cNvPr id="2057" name="AutoShape 3"/>
            <p:cNvSpPr>
              <a:spLocks/>
            </p:cNvSpPr>
            <p:nvPr/>
          </p:nvSpPr>
          <p:spPr bwMode="auto">
            <a:xfrm>
              <a:off x="533" y="98"/>
              <a:ext cx="58" cy="13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1600"/>
                <a:gd name="T19" fmla="*/ 0 h 21600"/>
                <a:gd name="T20" fmla="*/ 21600 w 21600"/>
                <a:gd name="T21" fmla="*/ 21600 h 2160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1600" h="21600">
                  <a:moveTo>
                    <a:pt x="0" y="21600"/>
                  </a:moveTo>
                  <a:lnTo>
                    <a:pt x="870" y="0"/>
                  </a:lnTo>
                  <a:lnTo>
                    <a:pt x="21600" y="0"/>
                  </a:lnTo>
                  <a:lnTo>
                    <a:pt x="20730" y="21600"/>
                  </a:lnTo>
                  <a:lnTo>
                    <a:pt x="0" y="21600"/>
                  </a:lnTo>
                  <a:close/>
                  <a:moveTo>
                    <a:pt x="0" y="21600"/>
                  </a:moveTo>
                </a:path>
              </a:pathLst>
            </a:custGeom>
            <a:solidFill>
              <a:srgbClr val="7DFE9D"/>
            </a:solidFill>
            <a:ln w="25400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s-ES_tradnl"/>
            </a:p>
          </p:txBody>
        </p:sp>
      </p:grpSp>
    </p:spTree>
    <p:extLst>
      <p:ext uri="{BB962C8B-B14F-4D97-AF65-F5344CB8AC3E}">
        <p14:creationId xmlns:p14="http://schemas.microsoft.com/office/powerpoint/2010/main" val="2028104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</p:sldLayoutIdLst>
  <p:transition/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+mj-lt"/>
          <a:ea typeface="+mj-ea"/>
          <a:cs typeface="+mj-cs"/>
          <a:sym typeface="Gill Sans" pitchFamily="-8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-8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-8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-8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-8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342900" indent="-342900" algn="ctr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  <a:sym typeface="Gill Sans" pitchFamily="-84" charset="0"/>
        </a:defRPr>
      </a:lvl1pPr>
      <a:lvl2pPr marL="742950" indent="-285750" algn="ctr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  <a:sym typeface="Gill Sans" pitchFamily="-84" charset="0"/>
        </a:defRPr>
      </a:lvl2pPr>
      <a:lvl3pPr marL="1143000" indent="-228600" algn="ctr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  <a:sym typeface="Gill Sans" pitchFamily="-84" charset="0"/>
        </a:defRPr>
      </a:lvl3pPr>
      <a:lvl4pPr marL="1600200" indent="-228600" algn="ctr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  <a:sym typeface="Gill Sans" pitchFamily="-84" charset="0"/>
        </a:defRPr>
      </a:lvl4pPr>
      <a:lvl5pPr marL="2057400" indent="-228600" algn="ctr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  <a:sym typeface="Gill Sans" pitchFamily="-8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125" y="188913"/>
            <a:ext cx="8229759" cy="647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_tradnl" smtClean="0"/>
              <a:t>Haga clic para cambiar el estilo de título	</a:t>
            </a:r>
          </a:p>
        </p:txBody>
      </p:sp>
      <p:sp>
        <p:nvSpPr>
          <p:cNvPr id="2048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125" y="1600206"/>
            <a:ext cx="8229759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</p:txBody>
      </p:sp>
      <p:sp>
        <p:nvSpPr>
          <p:cNvPr id="20484" name="Rectangle 3"/>
          <p:cNvSpPr>
            <a:spLocks/>
          </p:cNvSpPr>
          <p:nvPr/>
        </p:nvSpPr>
        <p:spPr bwMode="auto">
          <a:xfrm>
            <a:off x="4446987" y="6540753"/>
            <a:ext cx="246863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8C664D1E-0546-47A3-93F0-FCFE3E0B15D5}" type="slidenum">
              <a:rPr lang="es-ES_tradnl" sz="1100" smtClean="0">
                <a:solidFill>
                  <a:srgbClr val="003F52"/>
                </a:solidFill>
                <a:ea typeface="ＭＳ Ｐゴシック" pitchFamily="34" charset="-128"/>
                <a:sym typeface="Arial" pitchFamily="34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s-ES_tradnl" sz="1100" smtClean="0">
              <a:solidFill>
                <a:srgbClr val="003F52"/>
              </a:solidFill>
              <a:ea typeface="ＭＳ Ｐゴシック" pitchFamily="34" charset="-128"/>
              <a:sym typeface="Arial" pitchFamily="34" charset="0"/>
            </a:endParaRPr>
          </a:p>
        </p:txBody>
      </p:sp>
      <p:pic>
        <p:nvPicPr>
          <p:cNvPr id="20485" name="Picture 11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3105" y="6399466"/>
            <a:ext cx="1015824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86" name="Rectangle 12"/>
          <p:cNvSpPr>
            <a:spLocks/>
          </p:cNvSpPr>
          <p:nvPr/>
        </p:nvSpPr>
        <p:spPr bwMode="auto">
          <a:xfrm>
            <a:off x="128566" y="6371223"/>
            <a:ext cx="833562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ES_tradnl" sz="1100" smtClean="0">
                <a:solidFill>
                  <a:srgbClr val="123E51"/>
                </a:solidFill>
                <a:latin typeface="Arial Bold"/>
                <a:ea typeface="ＭＳ Ｐゴシック" pitchFamily="34" charset="-128"/>
                <a:sym typeface="Arial Bold"/>
              </a:rPr>
              <a:t>Área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ES_tradnl" sz="1100" smtClean="0">
                <a:solidFill>
                  <a:srgbClr val="123E51"/>
                </a:solidFill>
                <a:ea typeface="ＭＳ Ｐゴシック" pitchFamily="34" charset="-128"/>
                <a:sym typeface="Arial" pitchFamily="34" charset="0"/>
              </a:rPr>
              <a:t>Razón Social</a:t>
            </a:r>
          </a:p>
        </p:txBody>
      </p:sp>
    </p:spTree>
    <p:extLst>
      <p:ext uri="{BB962C8B-B14F-4D97-AF65-F5344CB8AC3E}">
        <p14:creationId xmlns:p14="http://schemas.microsoft.com/office/powerpoint/2010/main" val="1910313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  <p:sldLayoutId id="2147483813" r:id="rId9"/>
    <p:sldLayoutId id="2147483814" r:id="rId10"/>
    <p:sldLayoutId id="2147483815" r:id="rId11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200000"/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1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188913"/>
            <a:ext cx="822960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_tradnl" smtClean="0"/>
              <a:t>Haga clic para cambiar el estilo de título	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</p:txBody>
      </p:sp>
    </p:spTree>
    <p:extLst>
      <p:ext uri="{BB962C8B-B14F-4D97-AF65-F5344CB8AC3E}">
        <p14:creationId xmlns:p14="http://schemas.microsoft.com/office/powerpoint/2010/main" val="4005307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MS PGothic" pitchFamily="34" charset="-128"/>
          <a:cs typeface="ＭＳ Ｐゴシック" pitchFamily="100" charset="-128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  <a:ea typeface="MS PGothic" pitchFamily="34" charset="-128"/>
          <a:cs typeface="ＭＳ Ｐゴシック" pitchFamily="10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  <a:ea typeface="MS PGothic" pitchFamily="34" charset="-128"/>
          <a:cs typeface="ＭＳ Ｐゴシック" pitchFamily="10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  <a:ea typeface="MS PGothic" pitchFamily="34" charset="-128"/>
          <a:cs typeface="ＭＳ Ｐゴシック" pitchFamily="10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  <a:ea typeface="MS PGothic" pitchFamily="34" charset="-128"/>
          <a:cs typeface="ＭＳ Ｐゴシック" pitchFamily="10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200000"/>
        <a:buChar char="•"/>
        <a:defRPr sz="3200">
          <a:solidFill>
            <a:schemeClr val="tx1"/>
          </a:solidFill>
          <a:latin typeface="+mn-lt"/>
          <a:ea typeface="MS PGothic" pitchFamily="34" charset="-128"/>
          <a:cs typeface="ＭＳ Ｐゴシック" pitchFamily="100" charset="-128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  <a:ea typeface="MS PGothic" pitchFamily="34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1400">
          <a:solidFill>
            <a:schemeClr val="tx1"/>
          </a:solidFill>
          <a:latin typeface="+mn-lt"/>
          <a:ea typeface="MS PGothic" pitchFamily="34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MS PGothic" pitchFamily="34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MS PGothic" pitchFamily="34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AutoShape 5"/>
          <p:cNvSpPr>
            <a:spLocks/>
          </p:cNvSpPr>
          <p:nvPr/>
        </p:nvSpPr>
        <p:spPr bwMode="auto">
          <a:xfrm>
            <a:off x="8028844" y="6502400"/>
            <a:ext cx="830873" cy="249238"/>
          </a:xfrm>
          <a:custGeom>
            <a:avLst/>
            <a:gdLst>
              <a:gd name="T0" fmla="*/ 0 w 21600"/>
              <a:gd name="T1" fmla="*/ 892206852 h 21600"/>
              <a:gd name="T2" fmla="*/ 2147483647 w 21600"/>
              <a:gd name="T3" fmla="*/ 141473318 h 21600"/>
              <a:gd name="T4" fmla="*/ 2147483647 w 21600"/>
              <a:gd name="T5" fmla="*/ 96575026 h 21600"/>
              <a:gd name="T6" fmla="*/ 2147483647 w 21600"/>
              <a:gd name="T7" fmla="*/ 275193756 h 21600"/>
              <a:gd name="T8" fmla="*/ 2147483647 w 21600"/>
              <a:gd name="T9" fmla="*/ 59300706 h 21600"/>
              <a:gd name="T10" fmla="*/ 2147483647 w 21600"/>
              <a:gd name="T11" fmla="*/ 702363606 h 21600"/>
              <a:gd name="T12" fmla="*/ 2147483647 w 21600"/>
              <a:gd name="T13" fmla="*/ 341566847 h 21600"/>
              <a:gd name="T14" fmla="*/ 2147483647 w 21600"/>
              <a:gd name="T15" fmla="*/ 6989884 h 21600"/>
              <a:gd name="T16" fmla="*/ 2147483647 w 21600"/>
              <a:gd name="T17" fmla="*/ 12835521 h 21600"/>
              <a:gd name="T18" fmla="*/ 2147483647 w 21600"/>
              <a:gd name="T19" fmla="*/ 406713202 h 21600"/>
              <a:gd name="T20" fmla="*/ 2147483647 w 21600"/>
              <a:gd name="T21" fmla="*/ 446866336 h 21600"/>
              <a:gd name="T22" fmla="*/ 2147483647 w 21600"/>
              <a:gd name="T23" fmla="*/ 193528986 h 21600"/>
              <a:gd name="T24" fmla="*/ 2147483647 w 21600"/>
              <a:gd name="T25" fmla="*/ 592022721 h 21600"/>
              <a:gd name="T26" fmla="*/ 2147483647 w 21600"/>
              <a:gd name="T27" fmla="*/ 635735349 h 21600"/>
              <a:gd name="T28" fmla="*/ 2147483647 w 21600"/>
              <a:gd name="T29" fmla="*/ 421156883 h 21600"/>
              <a:gd name="T30" fmla="*/ 2147483647 w 21600"/>
              <a:gd name="T31" fmla="*/ 88484663 h 21600"/>
              <a:gd name="T32" fmla="*/ 2147483647 w 21600"/>
              <a:gd name="T33" fmla="*/ 232540374 h 21600"/>
              <a:gd name="T34" fmla="*/ 2147483647 w 21600"/>
              <a:gd name="T35" fmla="*/ 232540374 h 21600"/>
              <a:gd name="T36" fmla="*/ 2147483647 w 21600"/>
              <a:gd name="T37" fmla="*/ 528997692 h 21600"/>
              <a:gd name="T38" fmla="*/ 2147483647 w 21600"/>
              <a:gd name="T39" fmla="*/ 523871306 h 21600"/>
              <a:gd name="T40" fmla="*/ 2147483647 w 21600"/>
              <a:gd name="T41" fmla="*/ 493754362 h 21600"/>
              <a:gd name="T42" fmla="*/ 2147483647 w 21600"/>
              <a:gd name="T43" fmla="*/ 631585869 h 21600"/>
              <a:gd name="T44" fmla="*/ 2147483647 w 21600"/>
              <a:gd name="T45" fmla="*/ 201322939 h 21600"/>
              <a:gd name="T46" fmla="*/ 2147483647 w 21600"/>
              <a:gd name="T47" fmla="*/ 482658754 h 21600"/>
              <a:gd name="T48" fmla="*/ 2147483647 w 21600"/>
              <a:gd name="T49" fmla="*/ 231014554 h 21600"/>
              <a:gd name="T50" fmla="*/ 2147483647 w 21600"/>
              <a:gd name="T51" fmla="*/ 318228550 h 21600"/>
              <a:gd name="T52" fmla="*/ 2147483647 w 21600"/>
              <a:gd name="T53" fmla="*/ 277015998 h 21600"/>
              <a:gd name="T54" fmla="*/ 2147483647 w 21600"/>
              <a:gd name="T55" fmla="*/ 522811888 h 21600"/>
              <a:gd name="T56" fmla="*/ 2147483647 w 21600"/>
              <a:gd name="T57" fmla="*/ 219323441 h 21600"/>
              <a:gd name="T58" fmla="*/ 2147483647 w 21600"/>
              <a:gd name="T59" fmla="*/ 536451489 h 21600"/>
              <a:gd name="T60" fmla="*/ 2147483647 w 21600"/>
              <a:gd name="T61" fmla="*/ 359611267 h 21600"/>
              <a:gd name="T62" fmla="*/ 2147483647 w 21600"/>
              <a:gd name="T63" fmla="*/ 245035739 h 21600"/>
              <a:gd name="T64" fmla="*/ 2147483647 w 21600"/>
              <a:gd name="T65" fmla="*/ 482658754 h 21600"/>
              <a:gd name="T66" fmla="*/ 2147483647 w 21600"/>
              <a:gd name="T67" fmla="*/ 710539155 h 21600"/>
              <a:gd name="T68" fmla="*/ 2147483647 w 21600"/>
              <a:gd name="T69" fmla="*/ 238512269 h 21600"/>
              <a:gd name="T70" fmla="*/ 2147483647 w 21600"/>
              <a:gd name="T71" fmla="*/ 386550130 h 21600"/>
              <a:gd name="T72" fmla="*/ 2147483647 w 21600"/>
              <a:gd name="T73" fmla="*/ 290400434 h 21600"/>
              <a:gd name="T74" fmla="*/ 2147483647 w 21600"/>
              <a:gd name="T75" fmla="*/ 415056069 h 21600"/>
              <a:gd name="T76" fmla="*/ 2147483647 w 21600"/>
              <a:gd name="T77" fmla="*/ 544753284 h 21600"/>
              <a:gd name="T78" fmla="*/ 2147483647 w 21600"/>
              <a:gd name="T79" fmla="*/ 589991905 h 21600"/>
              <a:gd name="T80" fmla="*/ 2147483647 w 21600"/>
              <a:gd name="T81" fmla="*/ 201067773 h 21600"/>
              <a:gd name="T82" fmla="*/ 2147483647 w 21600"/>
              <a:gd name="T83" fmla="*/ 231736294 h 21600"/>
              <a:gd name="T84" fmla="*/ 2147483647 w 21600"/>
              <a:gd name="T85" fmla="*/ 241690339 h 21600"/>
              <a:gd name="T86" fmla="*/ 2147483647 w 21600"/>
              <a:gd name="T87" fmla="*/ 501633500 h 21600"/>
              <a:gd name="T88" fmla="*/ 2147483647 w 21600"/>
              <a:gd name="T89" fmla="*/ 202171109 h 21600"/>
              <a:gd name="T90" fmla="*/ 2147483647 w 21600"/>
              <a:gd name="T91" fmla="*/ 34859246 h 21600"/>
              <a:gd name="T92" fmla="*/ 2147483647 w 21600"/>
              <a:gd name="T93" fmla="*/ 161040897 h 21600"/>
              <a:gd name="T94" fmla="*/ 2147483647 w 21600"/>
              <a:gd name="T95" fmla="*/ 209369568 h 21600"/>
              <a:gd name="T96" fmla="*/ 2147483647 w 21600"/>
              <a:gd name="T97" fmla="*/ 245966066 h 21600"/>
              <a:gd name="T98" fmla="*/ 2147483647 w 21600"/>
              <a:gd name="T99" fmla="*/ 501592243 h 21600"/>
              <a:gd name="T100" fmla="*/ 2147483647 w 21600"/>
              <a:gd name="T101" fmla="*/ 239486513 h 21600"/>
              <a:gd name="T102" fmla="*/ 2147483647 w 21600"/>
              <a:gd name="T103" fmla="*/ 497651349 h 21600"/>
              <a:gd name="T104" fmla="*/ 2147483647 w 21600"/>
              <a:gd name="T105" fmla="*/ 415522655 h 2160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1600" h="21600">
                <a:moveTo>
                  <a:pt x="21600" y="21064"/>
                </a:moveTo>
                <a:cubicBezTo>
                  <a:pt x="21600" y="20776"/>
                  <a:pt x="16158" y="20540"/>
                  <a:pt x="10801" y="20540"/>
                </a:cubicBezTo>
                <a:cubicBezTo>
                  <a:pt x="5443" y="20540"/>
                  <a:pt x="0" y="20776"/>
                  <a:pt x="0" y="21064"/>
                </a:cubicBezTo>
                <a:cubicBezTo>
                  <a:pt x="0" y="21350"/>
                  <a:pt x="5443" y="21600"/>
                  <a:pt x="10801" y="21600"/>
                </a:cubicBezTo>
                <a:cubicBezTo>
                  <a:pt x="16158" y="21599"/>
                  <a:pt x="21600" y="21350"/>
                  <a:pt x="21600" y="21064"/>
                </a:cubicBezTo>
                <a:close/>
                <a:moveTo>
                  <a:pt x="16099" y="3340"/>
                </a:moveTo>
                <a:cubicBezTo>
                  <a:pt x="16246" y="3334"/>
                  <a:pt x="16394" y="2835"/>
                  <a:pt x="16425" y="2245"/>
                </a:cubicBezTo>
                <a:cubicBezTo>
                  <a:pt x="16461" y="1634"/>
                  <a:pt x="16365" y="1165"/>
                  <a:pt x="16216" y="1179"/>
                </a:cubicBezTo>
                <a:cubicBezTo>
                  <a:pt x="16070" y="1180"/>
                  <a:pt x="15924" y="1670"/>
                  <a:pt x="15889" y="2280"/>
                </a:cubicBezTo>
                <a:cubicBezTo>
                  <a:pt x="15858" y="2875"/>
                  <a:pt x="15949" y="3352"/>
                  <a:pt x="16099" y="3340"/>
                </a:cubicBezTo>
                <a:close/>
                <a:moveTo>
                  <a:pt x="2148" y="6604"/>
                </a:moveTo>
                <a:lnTo>
                  <a:pt x="2183" y="6497"/>
                </a:lnTo>
                <a:cubicBezTo>
                  <a:pt x="2134" y="6207"/>
                  <a:pt x="2116" y="5697"/>
                  <a:pt x="2119" y="5390"/>
                </a:cubicBezTo>
                <a:cubicBezTo>
                  <a:pt x="2136" y="2842"/>
                  <a:pt x="2874" y="1400"/>
                  <a:pt x="4024" y="1400"/>
                </a:cubicBezTo>
                <a:lnTo>
                  <a:pt x="4661" y="1400"/>
                </a:lnTo>
                <a:cubicBezTo>
                  <a:pt x="4291" y="2185"/>
                  <a:pt x="3981" y="3230"/>
                  <a:pt x="3743" y="5197"/>
                </a:cubicBezTo>
                <a:cubicBezTo>
                  <a:pt x="3640" y="6043"/>
                  <a:pt x="3153" y="10591"/>
                  <a:pt x="2954" y="12638"/>
                </a:cubicBezTo>
                <a:cubicBezTo>
                  <a:pt x="2706" y="15072"/>
                  <a:pt x="2548" y="16177"/>
                  <a:pt x="2352" y="16582"/>
                </a:cubicBezTo>
                <a:lnTo>
                  <a:pt x="2385" y="16802"/>
                </a:lnTo>
                <a:cubicBezTo>
                  <a:pt x="2937" y="16925"/>
                  <a:pt x="3266" y="15896"/>
                  <a:pt x="3478" y="13994"/>
                </a:cubicBezTo>
                <a:cubicBezTo>
                  <a:pt x="3680" y="12197"/>
                  <a:pt x="3947" y="9336"/>
                  <a:pt x="4078" y="8064"/>
                </a:cubicBezTo>
                <a:cubicBezTo>
                  <a:pt x="4502" y="3971"/>
                  <a:pt x="4688" y="2248"/>
                  <a:pt x="5026" y="1400"/>
                </a:cubicBezTo>
                <a:cubicBezTo>
                  <a:pt x="5497" y="1389"/>
                  <a:pt x="5951" y="1389"/>
                  <a:pt x="5951" y="1389"/>
                </a:cubicBezTo>
                <a:cubicBezTo>
                  <a:pt x="6458" y="1340"/>
                  <a:pt x="6674" y="880"/>
                  <a:pt x="6832" y="165"/>
                </a:cubicBezTo>
                <a:lnTo>
                  <a:pt x="6796" y="0"/>
                </a:lnTo>
                <a:cubicBezTo>
                  <a:pt x="6670" y="251"/>
                  <a:pt x="6395" y="302"/>
                  <a:pt x="6162" y="303"/>
                </a:cubicBezTo>
                <a:lnTo>
                  <a:pt x="3875" y="303"/>
                </a:lnTo>
                <a:cubicBezTo>
                  <a:pt x="2588" y="303"/>
                  <a:pt x="1799" y="1846"/>
                  <a:pt x="1671" y="4142"/>
                </a:cubicBezTo>
                <a:cubicBezTo>
                  <a:pt x="1608" y="5253"/>
                  <a:pt x="1777" y="6456"/>
                  <a:pt x="2148" y="6604"/>
                </a:cubicBezTo>
                <a:close/>
                <a:moveTo>
                  <a:pt x="6336" y="9602"/>
                </a:moveTo>
                <a:cubicBezTo>
                  <a:pt x="6013" y="11310"/>
                  <a:pt x="5562" y="12860"/>
                  <a:pt x="5174" y="12860"/>
                </a:cubicBezTo>
                <a:cubicBezTo>
                  <a:pt x="5009" y="12881"/>
                  <a:pt x="4936" y="12535"/>
                  <a:pt x="4940" y="11843"/>
                </a:cubicBezTo>
                <a:cubicBezTo>
                  <a:pt x="4940" y="11428"/>
                  <a:pt x="4966" y="10844"/>
                  <a:pt x="4989" y="10550"/>
                </a:cubicBezTo>
                <a:cubicBezTo>
                  <a:pt x="5355" y="9874"/>
                  <a:pt x="5728" y="9115"/>
                  <a:pt x="6060" y="7863"/>
                </a:cubicBezTo>
                <a:cubicBezTo>
                  <a:pt x="6246" y="7137"/>
                  <a:pt x="6370" y="6407"/>
                  <a:pt x="6376" y="5655"/>
                </a:cubicBezTo>
                <a:cubicBezTo>
                  <a:pt x="6380" y="4944"/>
                  <a:pt x="6257" y="4583"/>
                  <a:pt x="6015" y="4569"/>
                </a:cubicBezTo>
                <a:cubicBezTo>
                  <a:pt x="5664" y="4554"/>
                  <a:pt x="5243" y="5429"/>
                  <a:pt x="4968" y="6495"/>
                </a:cubicBezTo>
                <a:cubicBezTo>
                  <a:pt x="4609" y="7927"/>
                  <a:pt x="4332" y="9949"/>
                  <a:pt x="4325" y="11748"/>
                </a:cubicBezTo>
                <a:cubicBezTo>
                  <a:pt x="4321" y="13024"/>
                  <a:pt x="4487" y="14037"/>
                  <a:pt x="4936" y="13977"/>
                </a:cubicBezTo>
                <a:cubicBezTo>
                  <a:pt x="5417" y="13928"/>
                  <a:pt x="5891" y="12574"/>
                  <a:pt x="6133" y="11593"/>
                </a:cubicBezTo>
                <a:cubicBezTo>
                  <a:pt x="6105" y="12014"/>
                  <a:pt x="6085" y="12408"/>
                  <a:pt x="6085" y="12732"/>
                </a:cubicBezTo>
                <a:cubicBezTo>
                  <a:pt x="6085" y="13864"/>
                  <a:pt x="6239" y="14667"/>
                  <a:pt x="6544" y="15009"/>
                </a:cubicBezTo>
                <a:lnTo>
                  <a:pt x="6605" y="14903"/>
                </a:lnTo>
                <a:cubicBezTo>
                  <a:pt x="6578" y="14599"/>
                  <a:pt x="6571" y="14277"/>
                  <a:pt x="6578" y="13919"/>
                </a:cubicBezTo>
                <a:cubicBezTo>
                  <a:pt x="6599" y="12819"/>
                  <a:pt x="6719" y="11576"/>
                  <a:pt x="6894" y="9943"/>
                </a:cubicBezTo>
                <a:cubicBezTo>
                  <a:pt x="7231" y="6855"/>
                  <a:pt x="7720" y="3323"/>
                  <a:pt x="7934" y="1239"/>
                </a:cubicBezTo>
                <a:lnTo>
                  <a:pt x="7422" y="1596"/>
                </a:lnTo>
                <a:cubicBezTo>
                  <a:pt x="7342" y="1656"/>
                  <a:pt x="7292" y="1877"/>
                  <a:pt x="7265" y="2089"/>
                </a:cubicBezTo>
                <a:cubicBezTo>
                  <a:pt x="7018" y="4008"/>
                  <a:pt x="6764" y="6055"/>
                  <a:pt x="6447" y="8720"/>
                </a:cubicBezTo>
                <a:cubicBezTo>
                  <a:pt x="6410" y="9004"/>
                  <a:pt x="6376" y="9305"/>
                  <a:pt x="6336" y="9602"/>
                </a:cubicBezTo>
                <a:close/>
                <a:moveTo>
                  <a:pt x="5856" y="5490"/>
                </a:moveTo>
                <a:cubicBezTo>
                  <a:pt x="5935" y="5490"/>
                  <a:pt x="5963" y="5689"/>
                  <a:pt x="5963" y="5944"/>
                </a:cubicBezTo>
                <a:cubicBezTo>
                  <a:pt x="5963" y="7146"/>
                  <a:pt x="5556" y="8686"/>
                  <a:pt x="5037" y="9810"/>
                </a:cubicBezTo>
                <a:cubicBezTo>
                  <a:pt x="5167" y="7947"/>
                  <a:pt x="5534" y="5472"/>
                  <a:pt x="5856" y="5490"/>
                </a:cubicBezTo>
                <a:close/>
                <a:moveTo>
                  <a:pt x="14619" y="12665"/>
                </a:moveTo>
                <a:cubicBezTo>
                  <a:pt x="14619" y="13518"/>
                  <a:pt x="14767" y="14043"/>
                  <a:pt x="15050" y="14014"/>
                </a:cubicBezTo>
                <a:cubicBezTo>
                  <a:pt x="15344" y="13993"/>
                  <a:pt x="15642" y="13359"/>
                  <a:pt x="15889" y="12489"/>
                </a:cubicBezTo>
                <a:cubicBezTo>
                  <a:pt x="15936" y="13410"/>
                  <a:pt x="16117" y="14077"/>
                  <a:pt x="16488" y="14028"/>
                </a:cubicBezTo>
                <a:cubicBezTo>
                  <a:pt x="16874" y="13977"/>
                  <a:pt x="17243" y="13095"/>
                  <a:pt x="17499" y="12073"/>
                </a:cubicBezTo>
                <a:lnTo>
                  <a:pt x="17499" y="12368"/>
                </a:lnTo>
                <a:cubicBezTo>
                  <a:pt x="17499" y="13315"/>
                  <a:pt x="17633" y="14021"/>
                  <a:pt x="17929" y="14021"/>
                </a:cubicBezTo>
                <a:cubicBezTo>
                  <a:pt x="18248" y="14021"/>
                  <a:pt x="18615" y="13146"/>
                  <a:pt x="18906" y="11641"/>
                </a:cubicBezTo>
                <a:lnTo>
                  <a:pt x="18914" y="11657"/>
                </a:lnTo>
                <a:cubicBezTo>
                  <a:pt x="18888" y="12014"/>
                  <a:pt x="18856" y="12620"/>
                  <a:pt x="18852" y="13025"/>
                </a:cubicBezTo>
                <a:cubicBezTo>
                  <a:pt x="18847" y="14159"/>
                  <a:pt x="19032" y="14816"/>
                  <a:pt x="19289" y="15003"/>
                </a:cubicBezTo>
                <a:lnTo>
                  <a:pt x="19352" y="14911"/>
                </a:lnTo>
                <a:cubicBezTo>
                  <a:pt x="19258" y="14087"/>
                  <a:pt x="19389" y="12036"/>
                  <a:pt x="19444" y="11353"/>
                </a:cubicBezTo>
                <a:cubicBezTo>
                  <a:pt x="19635" y="9107"/>
                  <a:pt x="19938" y="6540"/>
                  <a:pt x="20114" y="5205"/>
                </a:cubicBezTo>
                <a:cubicBezTo>
                  <a:pt x="20034" y="4955"/>
                  <a:pt x="19847" y="4786"/>
                  <a:pt x="19647" y="4753"/>
                </a:cubicBezTo>
                <a:cubicBezTo>
                  <a:pt x="18983" y="4665"/>
                  <a:pt x="18316" y="5664"/>
                  <a:pt x="17830" y="8808"/>
                </a:cubicBezTo>
                <a:cubicBezTo>
                  <a:pt x="17746" y="9356"/>
                  <a:pt x="17655" y="9985"/>
                  <a:pt x="17587" y="10651"/>
                </a:cubicBezTo>
                <a:cubicBezTo>
                  <a:pt x="17518" y="10987"/>
                  <a:pt x="17445" y="11287"/>
                  <a:pt x="17415" y="11395"/>
                </a:cubicBezTo>
                <a:cubicBezTo>
                  <a:pt x="17239" y="12014"/>
                  <a:pt x="16989" y="12807"/>
                  <a:pt x="16735" y="12819"/>
                </a:cubicBezTo>
                <a:cubicBezTo>
                  <a:pt x="16590" y="12829"/>
                  <a:pt x="16510" y="12458"/>
                  <a:pt x="16514" y="11799"/>
                </a:cubicBezTo>
                <a:cubicBezTo>
                  <a:pt x="16516" y="9284"/>
                  <a:pt x="17124" y="5464"/>
                  <a:pt x="17538" y="5454"/>
                </a:cubicBezTo>
                <a:cubicBezTo>
                  <a:pt x="17650" y="5454"/>
                  <a:pt x="17700" y="5635"/>
                  <a:pt x="17700" y="5987"/>
                </a:cubicBezTo>
                <a:cubicBezTo>
                  <a:pt x="17700" y="6406"/>
                  <a:pt x="17621" y="6981"/>
                  <a:pt x="17510" y="7352"/>
                </a:cubicBezTo>
                <a:lnTo>
                  <a:pt x="17558" y="7513"/>
                </a:lnTo>
                <a:cubicBezTo>
                  <a:pt x="17835" y="7124"/>
                  <a:pt x="18093" y="6420"/>
                  <a:pt x="18095" y="5671"/>
                </a:cubicBezTo>
                <a:cubicBezTo>
                  <a:pt x="18095" y="4817"/>
                  <a:pt x="17825" y="4658"/>
                  <a:pt x="17585" y="4665"/>
                </a:cubicBezTo>
                <a:cubicBezTo>
                  <a:pt x="17262" y="4681"/>
                  <a:pt x="16861" y="5257"/>
                  <a:pt x="16539" y="6540"/>
                </a:cubicBezTo>
                <a:cubicBezTo>
                  <a:pt x="16136" y="8149"/>
                  <a:pt x="15927" y="10079"/>
                  <a:pt x="15886" y="11456"/>
                </a:cubicBezTo>
                <a:cubicBezTo>
                  <a:pt x="15702" y="12240"/>
                  <a:pt x="15496" y="12775"/>
                  <a:pt x="15358" y="12781"/>
                </a:cubicBezTo>
                <a:cubicBezTo>
                  <a:pt x="15281" y="12792"/>
                  <a:pt x="15225" y="12639"/>
                  <a:pt x="15224" y="12343"/>
                </a:cubicBezTo>
                <a:cubicBezTo>
                  <a:pt x="15224" y="12081"/>
                  <a:pt x="15266" y="11546"/>
                  <a:pt x="15336" y="10851"/>
                </a:cubicBezTo>
                <a:cubicBezTo>
                  <a:pt x="15515" y="9231"/>
                  <a:pt x="15772" y="7212"/>
                  <a:pt x="16090" y="4811"/>
                </a:cubicBezTo>
                <a:cubicBezTo>
                  <a:pt x="16090" y="4811"/>
                  <a:pt x="15608" y="5106"/>
                  <a:pt x="15538" y="5178"/>
                </a:cubicBezTo>
                <a:cubicBezTo>
                  <a:pt x="15465" y="5246"/>
                  <a:pt x="15409" y="5421"/>
                  <a:pt x="15377" y="5663"/>
                </a:cubicBezTo>
                <a:cubicBezTo>
                  <a:pt x="15170" y="7261"/>
                  <a:pt x="14925" y="9107"/>
                  <a:pt x="14773" y="10483"/>
                </a:cubicBezTo>
                <a:cubicBezTo>
                  <a:pt x="14677" y="11351"/>
                  <a:pt x="14619" y="12173"/>
                  <a:pt x="14619" y="12665"/>
                </a:cubicBezTo>
                <a:close/>
                <a:moveTo>
                  <a:pt x="19138" y="5785"/>
                </a:moveTo>
                <a:cubicBezTo>
                  <a:pt x="19291" y="5520"/>
                  <a:pt x="19420" y="5503"/>
                  <a:pt x="19529" y="5583"/>
                </a:cubicBezTo>
                <a:cubicBezTo>
                  <a:pt x="19488" y="5895"/>
                  <a:pt x="19302" y="7261"/>
                  <a:pt x="19158" y="8490"/>
                </a:cubicBezTo>
                <a:cubicBezTo>
                  <a:pt x="18929" y="10417"/>
                  <a:pt x="18585" y="12362"/>
                  <a:pt x="18267" y="12639"/>
                </a:cubicBezTo>
                <a:cubicBezTo>
                  <a:pt x="18157" y="12754"/>
                  <a:pt x="18093" y="12583"/>
                  <a:pt x="18095" y="12183"/>
                </a:cubicBezTo>
                <a:cubicBezTo>
                  <a:pt x="18104" y="10478"/>
                  <a:pt x="18619" y="6672"/>
                  <a:pt x="19138" y="5785"/>
                </a:cubicBezTo>
                <a:close/>
                <a:moveTo>
                  <a:pt x="7191" y="11749"/>
                </a:moveTo>
                <a:cubicBezTo>
                  <a:pt x="7187" y="12996"/>
                  <a:pt x="7367" y="14037"/>
                  <a:pt x="7828" y="13977"/>
                </a:cubicBezTo>
                <a:cubicBezTo>
                  <a:pt x="8321" y="13929"/>
                  <a:pt x="8771" y="12887"/>
                  <a:pt x="9160" y="11395"/>
                </a:cubicBezTo>
                <a:cubicBezTo>
                  <a:pt x="9062" y="12352"/>
                  <a:pt x="8978" y="13174"/>
                  <a:pt x="8928" y="13618"/>
                </a:cubicBezTo>
                <a:cubicBezTo>
                  <a:pt x="8784" y="14935"/>
                  <a:pt x="8677" y="15997"/>
                  <a:pt x="8456" y="16614"/>
                </a:cubicBezTo>
                <a:lnTo>
                  <a:pt x="8480" y="16775"/>
                </a:lnTo>
                <a:cubicBezTo>
                  <a:pt x="9130" y="16912"/>
                  <a:pt x="9375" y="15243"/>
                  <a:pt x="9643" y="12520"/>
                </a:cubicBezTo>
                <a:cubicBezTo>
                  <a:pt x="9910" y="9793"/>
                  <a:pt x="10137" y="7425"/>
                  <a:pt x="10313" y="5780"/>
                </a:cubicBezTo>
                <a:cubicBezTo>
                  <a:pt x="10598" y="5780"/>
                  <a:pt x="11002" y="5817"/>
                  <a:pt x="11229" y="5631"/>
                </a:cubicBezTo>
                <a:cubicBezTo>
                  <a:pt x="10638" y="6588"/>
                  <a:pt x="10137" y="10023"/>
                  <a:pt x="10196" y="12286"/>
                </a:cubicBezTo>
                <a:cubicBezTo>
                  <a:pt x="10222" y="13286"/>
                  <a:pt x="10386" y="13978"/>
                  <a:pt x="10736" y="13978"/>
                </a:cubicBezTo>
                <a:cubicBezTo>
                  <a:pt x="11413" y="13978"/>
                  <a:pt x="11982" y="11053"/>
                  <a:pt x="12199" y="9126"/>
                </a:cubicBezTo>
                <a:cubicBezTo>
                  <a:pt x="12324" y="8020"/>
                  <a:pt x="12406" y="7075"/>
                  <a:pt x="12420" y="6128"/>
                </a:cubicBezTo>
                <a:cubicBezTo>
                  <a:pt x="12581" y="6026"/>
                  <a:pt x="12735" y="5923"/>
                  <a:pt x="12812" y="5883"/>
                </a:cubicBezTo>
                <a:cubicBezTo>
                  <a:pt x="12960" y="5808"/>
                  <a:pt x="12931" y="6407"/>
                  <a:pt x="12885" y="6856"/>
                </a:cubicBezTo>
                <a:cubicBezTo>
                  <a:pt x="12608" y="9678"/>
                  <a:pt x="12129" y="13774"/>
                  <a:pt x="12127" y="13838"/>
                </a:cubicBezTo>
                <a:lnTo>
                  <a:pt x="12656" y="13838"/>
                </a:lnTo>
                <a:cubicBezTo>
                  <a:pt x="12885" y="12098"/>
                  <a:pt x="13026" y="10986"/>
                  <a:pt x="13209" y="9799"/>
                </a:cubicBezTo>
                <a:cubicBezTo>
                  <a:pt x="13430" y="8408"/>
                  <a:pt x="13922" y="6112"/>
                  <a:pt x="14117" y="6108"/>
                </a:cubicBezTo>
                <a:cubicBezTo>
                  <a:pt x="14187" y="6108"/>
                  <a:pt x="14205" y="6267"/>
                  <a:pt x="14187" y="6515"/>
                </a:cubicBezTo>
                <a:cubicBezTo>
                  <a:pt x="14153" y="7460"/>
                  <a:pt x="13520" y="11075"/>
                  <a:pt x="13530" y="12861"/>
                </a:cubicBezTo>
                <a:cubicBezTo>
                  <a:pt x="13536" y="14028"/>
                  <a:pt x="13704" y="14735"/>
                  <a:pt x="13999" y="15000"/>
                </a:cubicBezTo>
                <a:lnTo>
                  <a:pt x="14060" y="14874"/>
                </a:lnTo>
                <a:cubicBezTo>
                  <a:pt x="14023" y="14619"/>
                  <a:pt x="14018" y="14302"/>
                  <a:pt x="14017" y="13929"/>
                </a:cubicBezTo>
                <a:cubicBezTo>
                  <a:pt x="14012" y="12738"/>
                  <a:pt x="14278" y="10651"/>
                  <a:pt x="14381" y="9842"/>
                </a:cubicBezTo>
                <a:cubicBezTo>
                  <a:pt x="14544" y="8570"/>
                  <a:pt x="14835" y="6713"/>
                  <a:pt x="14816" y="5696"/>
                </a:cubicBezTo>
                <a:cubicBezTo>
                  <a:pt x="14807" y="5197"/>
                  <a:pt x="14704" y="4753"/>
                  <a:pt x="14471" y="4747"/>
                </a:cubicBezTo>
                <a:cubicBezTo>
                  <a:pt x="14040" y="4739"/>
                  <a:pt x="13611" y="6267"/>
                  <a:pt x="13251" y="8318"/>
                </a:cubicBezTo>
                <a:lnTo>
                  <a:pt x="13241" y="8308"/>
                </a:lnTo>
                <a:cubicBezTo>
                  <a:pt x="13385" y="7116"/>
                  <a:pt x="13498" y="6010"/>
                  <a:pt x="13494" y="5471"/>
                </a:cubicBezTo>
                <a:cubicBezTo>
                  <a:pt x="13491" y="4978"/>
                  <a:pt x="13414" y="4785"/>
                  <a:pt x="13253" y="4785"/>
                </a:cubicBezTo>
                <a:cubicBezTo>
                  <a:pt x="13139" y="4797"/>
                  <a:pt x="12985" y="4954"/>
                  <a:pt x="12832" y="5105"/>
                </a:cubicBezTo>
                <a:cubicBezTo>
                  <a:pt x="12619" y="5306"/>
                  <a:pt x="12395" y="5518"/>
                  <a:pt x="12148" y="5706"/>
                </a:cubicBezTo>
                <a:cubicBezTo>
                  <a:pt x="11998" y="5780"/>
                  <a:pt x="11945" y="5882"/>
                  <a:pt x="11950" y="6080"/>
                </a:cubicBezTo>
                <a:cubicBezTo>
                  <a:pt x="11981" y="9212"/>
                  <a:pt x="11397" y="12892"/>
                  <a:pt x="11007" y="12905"/>
                </a:cubicBezTo>
                <a:cubicBezTo>
                  <a:pt x="10840" y="12905"/>
                  <a:pt x="10802" y="12459"/>
                  <a:pt x="10802" y="11843"/>
                </a:cubicBezTo>
                <a:cubicBezTo>
                  <a:pt x="10801" y="9677"/>
                  <a:pt x="11289" y="6041"/>
                  <a:pt x="11765" y="5463"/>
                </a:cubicBezTo>
                <a:cubicBezTo>
                  <a:pt x="11806" y="5421"/>
                  <a:pt x="11847" y="5389"/>
                  <a:pt x="11874" y="5357"/>
                </a:cubicBezTo>
                <a:lnTo>
                  <a:pt x="11935" y="4773"/>
                </a:lnTo>
                <a:cubicBezTo>
                  <a:pt x="11834" y="4850"/>
                  <a:pt x="11593" y="4863"/>
                  <a:pt x="11467" y="4875"/>
                </a:cubicBezTo>
                <a:lnTo>
                  <a:pt x="10421" y="4875"/>
                </a:lnTo>
                <a:cubicBezTo>
                  <a:pt x="10697" y="2471"/>
                  <a:pt x="11085" y="915"/>
                  <a:pt x="11653" y="823"/>
                </a:cubicBezTo>
                <a:cubicBezTo>
                  <a:pt x="12005" y="779"/>
                  <a:pt x="12243" y="1264"/>
                  <a:pt x="12264" y="2003"/>
                </a:cubicBezTo>
                <a:cubicBezTo>
                  <a:pt x="12278" y="2630"/>
                  <a:pt x="12231" y="3141"/>
                  <a:pt x="12093" y="3660"/>
                </a:cubicBezTo>
                <a:lnTo>
                  <a:pt x="12132" y="3802"/>
                </a:lnTo>
                <a:cubicBezTo>
                  <a:pt x="12443" y="3265"/>
                  <a:pt x="12658" y="2353"/>
                  <a:pt x="12659" y="1732"/>
                </a:cubicBezTo>
                <a:cubicBezTo>
                  <a:pt x="12663" y="767"/>
                  <a:pt x="12345" y="175"/>
                  <a:pt x="11837" y="193"/>
                </a:cubicBezTo>
                <a:cubicBezTo>
                  <a:pt x="11191" y="207"/>
                  <a:pt x="10396" y="739"/>
                  <a:pt x="9840" y="4943"/>
                </a:cubicBezTo>
                <a:cubicBezTo>
                  <a:pt x="9674" y="5036"/>
                  <a:pt x="9524" y="5265"/>
                  <a:pt x="9398" y="5758"/>
                </a:cubicBezTo>
                <a:lnTo>
                  <a:pt x="9421" y="5943"/>
                </a:lnTo>
                <a:cubicBezTo>
                  <a:pt x="9511" y="5825"/>
                  <a:pt x="9618" y="5807"/>
                  <a:pt x="9739" y="5807"/>
                </a:cubicBezTo>
                <a:cubicBezTo>
                  <a:pt x="9662" y="6494"/>
                  <a:pt x="9507" y="7990"/>
                  <a:pt x="9354" y="9529"/>
                </a:cubicBezTo>
                <a:cubicBezTo>
                  <a:pt x="8885" y="11784"/>
                  <a:pt x="8415" y="12859"/>
                  <a:pt x="8071" y="12859"/>
                </a:cubicBezTo>
                <a:cubicBezTo>
                  <a:pt x="7883" y="12880"/>
                  <a:pt x="7808" y="12503"/>
                  <a:pt x="7805" y="11842"/>
                </a:cubicBezTo>
                <a:cubicBezTo>
                  <a:pt x="7803" y="11427"/>
                  <a:pt x="7832" y="10850"/>
                  <a:pt x="7854" y="10549"/>
                </a:cubicBezTo>
                <a:cubicBezTo>
                  <a:pt x="8222" y="9873"/>
                  <a:pt x="8592" y="9114"/>
                  <a:pt x="8926" y="7862"/>
                </a:cubicBezTo>
                <a:cubicBezTo>
                  <a:pt x="9110" y="7136"/>
                  <a:pt x="9238" y="6406"/>
                  <a:pt x="9242" y="5654"/>
                </a:cubicBezTo>
                <a:cubicBezTo>
                  <a:pt x="9245" y="4943"/>
                  <a:pt x="9126" y="4582"/>
                  <a:pt x="8880" y="4568"/>
                </a:cubicBezTo>
                <a:cubicBezTo>
                  <a:pt x="8531" y="4553"/>
                  <a:pt x="8109" y="5428"/>
                  <a:pt x="7834" y="6494"/>
                </a:cubicBezTo>
                <a:cubicBezTo>
                  <a:pt x="7475" y="7927"/>
                  <a:pt x="7197" y="9950"/>
                  <a:pt x="7191" y="11749"/>
                </a:cubicBezTo>
                <a:close/>
                <a:moveTo>
                  <a:pt x="8720" y="5490"/>
                </a:moveTo>
                <a:cubicBezTo>
                  <a:pt x="8799" y="5490"/>
                  <a:pt x="8832" y="5689"/>
                  <a:pt x="8832" y="5944"/>
                </a:cubicBezTo>
                <a:cubicBezTo>
                  <a:pt x="8828" y="7146"/>
                  <a:pt x="8425" y="8686"/>
                  <a:pt x="7901" y="9810"/>
                </a:cubicBezTo>
                <a:cubicBezTo>
                  <a:pt x="8033" y="7947"/>
                  <a:pt x="8400" y="5472"/>
                  <a:pt x="8720" y="5490"/>
                </a:cubicBezTo>
                <a:close/>
                <a:moveTo>
                  <a:pt x="8720" y="5490"/>
                </a:moveTo>
              </a:path>
            </a:pathLst>
          </a:custGeom>
          <a:solidFill>
            <a:srgbClr val="00334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6148" name="Rectangle 13"/>
          <p:cNvSpPr>
            <a:spLocks/>
          </p:cNvSpPr>
          <p:nvPr/>
        </p:nvSpPr>
        <p:spPr bwMode="auto">
          <a:xfrm rot="10800000">
            <a:off x="7164292" y="6332538"/>
            <a:ext cx="864577" cy="49212"/>
          </a:xfrm>
          <a:prstGeom prst="rect">
            <a:avLst/>
          </a:prstGeom>
          <a:solidFill>
            <a:srgbClr val="156273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149" name="Rectangle 12"/>
          <p:cNvSpPr>
            <a:spLocks/>
          </p:cNvSpPr>
          <p:nvPr/>
        </p:nvSpPr>
        <p:spPr bwMode="auto">
          <a:xfrm rot="10800000">
            <a:off x="8015680" y="6332538"/>
            <a:ext cx="1122485" cy="49212"/>
          </a:xfrm>
          <a:prstGeom prst="rect">
            <a:avLst/>
          </a:prstGeom>
          <a:solidFill>
            <a:srgbClr val="11536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150" name="Rectangle 14"/>
          <p:cNvSpPr>
            <a:spLocks/>
          </p:cNvSpPr>
          <p:nvPr/>
        </p:nvSpPr>
        <p:spPr bwMode="auto">
          <a:xfrm rot="10800000">
            <a:off x="6268916" y="6332538"/>
            <a:ext cx="895350" cy="49212"/>
          </a:xfrm>
          <a:prstGeom prst="rect">
            <a:avLst/>
          </a:prstGeom>
          <a:solidFill>
            <a:srgbClr val="1C8494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151" name="Rectangle 15"/>
          <p:cNvSpPr>
            <a:spLocks/>
          </p:cNvSpPr>
          <p:nvPr/>
        </p:nvSpPr>
        <p:spPr bwMode="auto">
          <a:xfrm rot="10800000">
            <a:off x="-5857" y="6332538"/>
            <a:ext cx="6274777" cy="49212"/>
          </a:xfrm>
          <a:prstGeom prst="rect">
            <a:avLst/>
          </a:prstGeom>
          <a:solidFill>
            <a:srgbClr val="29C6D4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1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425880" y="6464175"/>
            <a:ext cx="279065" cy="29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lang="en-US" sz="1000" smtClean="0">
                <a:solidFill>
                  <a:srgbClr val="072534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fld id="{9D9F8B9A-560A-470D-9EA6-79F5999904E6}" type="slidenum">
              <a:rPr lang="en-GB" smtClean="0"/>
              <a:pPr/>
              <a:t>‹Nº›</a:t>
            </a:fld>
            <a:endParaRPr lang="en-GB" dirty="0"/>
          </a:p>
        </p:txBody>
      </p:sp>
      <p:grpSp>
        <p:nvGrpSpPr>
          <p:cNvPr id="11" name="Grupo 10"/>
          <p:cNvGrpSpPr/>
          <p:nvPr userDrawn="1"/>
        </p:nvGrpSpPr>
        <p:grpSpPr>
          <a:xfrm>
            <a:off x="58864" y="6464175"/>
            <a:ext cx="2103461" cy="359735"/>
            <a:chOff x="58864" y="6464175"/>
            <a:chExt cx="2103461" cy="359735"/>
          </a:xfrm>
        </p:grpSpPr>
        <p:grpSp>
          <p:nvGrpSpPr>
            <p:cNvPr id="12" name="Group 4"/>
            <p:cNvGrpSpPr>
              <a:grpSpLocks/>
            </p:cNvGrpSpPr>
            <p:nvPr userDrawn="1"/>
          </p:nvGrpSpPr>
          <p:grpSpPr bwMode="auto">
            <a:xfrm>
              <a:off x="179512" y="6464175"/>
              <a:ext cx="888250" cy="136799"/>
              <a:chOff x="-14" y="12"/>
              <a:chExt cx="605" cy="99"/>
            </a:xfrm>
          </p:grpSpPr>
          <p:sp>
            <p:nvSpPr>
              <p:cNvPr id="15" name="AutoShape 2"/>
              <p:cNvSpPr>
                <a:spLocks/>
              </p:cNvSpPr>
              <p:nvPr/>
            </p:nvSpPr>
            <p:spPr bwMode="auto">
              <a:xfrm>
                <a:off x="-14" y="12"/>
                <a:ext cx="546" cy="96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w 21600"/>
                  <a:gd name="T13" fmla="*/ 0 h 21600"/>
                  <a:gd name="T14" fmla="*/ 0 w 21600"/>
                  <a:gd name="T15" fmla="*/ 0 h 21600"/>
                  <a:gd name="T16" fmla="*/ 0 w 21600"/>
                  <a:gd name="T17" fmla="*/ 0 h 21600"/>
                  <a:gd name="T18" fmla="*/ 0 w 21600"/>
                  <a:gd name="T19" fmla="*/ 0 h 21600"/>
                  <a:gd name="T20" fmla="*/ 0 w 21600"/>
                  <a:gd name="T21" fmla="*/ 0 h 21600"/>
                  <a:gd name="T22" fmla="*/ 0 w 21600"/>
                  <a:gd name="T23" fmla="*/ 0 h 21600"/>
                  <a:gd name="T24" fmla="*/ 0 w 21600"/>
                  <a:gd name="T25" fmla="*/ 0 h 21600"/>
                  <a:gd name="T26" fmla="*/ 0 w 21600"/>
                  <a:gd name="T27" fmla="*/ 0 h 21600"/>
                  <a:gd name="T28" fmla="*/ 0 w 21600"/>
                  <a:gd name="T29" fmla="*/ 0 h 21600"/>
                  <a:gd name="T30" fmla="*/ 0 w 21600"/>
                  <a:gd name="T31" fmla="*/ 0 h 21600"/>
                  <a:gd name="T32" fmla="*/ 0 w 21600"/>
                  <a:gd name="T33" fmla="*/ 0 h 21600"/>
                  <a:gd name="T34" fmla="*/ 0 w 21600"/>
                  <a:gd name="T35" fmla="*/ 0 h 21600"/>
                  <a:gd name="T36" fmla="*/ 0 w 21600"/>
                  <a:gd name="T37" fmla="*/ 0 h 21600"/>
                  <a:gd name="T38" fmla="*/ 0 w 21600"/>
                  <a:gd name="T39" fmla="*/ 0 h 21600"/>
                  <a:gd name="T40" fmla="*/ 0 w 21600"/>
                  <a:gd name="T41" fmla="*/ 0 h 21600"/>
                  <a:gd name="T42" fmla="*/ 0 w 21600"/>
                  <a:gd name="T43" fmla="*/ 0 h 21600"/>
                  <a:gd name="T44" fmla="*/ 0 w 21600"/>
                  <a:gd name="T45" fmla="*/ 0 h 21600"/>
                  <a:gd name="T46" fmla="*/ 0 w 21600"/>
                  <a:gd name="T47" fmla="*/ 0 h 21600"/>
                  <a:gd name="T48" fmla="*/ 0 w 21600"/>
                  <a:gd name="T49" fmla="*/ 0 h 21600"/>
                  <a:gd name="T50" fmla="*/ 0 w 21600"/>
                  <a:gd name="T51" fmla="*/ 0 h 21600"/>
                  <a:gd name="T52" fmla="*/ 0 w 21600"/>
                  <a:gd name="T53" fmla="*/ 0 h 21600"/>
                  <a:gd name="T54" fmla="*/ 0 w 21600"/>
                  <a:gd name="T55" fmla="*/ 0 h 21600"/>
                  <a:gd name="T56" fmla="*/ 0 w 21600"/>
                  <a:gd name="T57" fmla="*/ 0 h 21600"/>
                  <a:gd name="T58" fmla="*/ 0 w 21600"/>
                  <a:gd name="T59" fmla="*/ 0 h 21600"/>
                  <a:gd name="T60" fmla="*/ 0 w 21600"/>
                  <a:gd name="T61" fmla="*/ 0 h 21600"/>
                  <a:gd name="T62" fmla="*/ 0 w 21600"/>
                  <a:gd name="T63" fmla="*/ 0 h 21600"/>
                  <a:gd name="T64" fmla="*/ 0 w 21600"/>
                  <a:gd name="T65" fmla="*/ 0 h 21600"/>
                  <a:gd name="T66" fmla="*/ 0 w 21600"/>
                  <a:gd name="T67" fmla="*/ 0 h 21600"/>
                  <a:gd name="T68" fmla="*/ 0 w 21600"/>
                  <a:gd name="T69" fmla="*/ 0 h 21600"/>
                  <a:gd name="T70" fmla="*/ 0 w 21600"/>
                  <a:gd name="T71" fmla="*/ 0 h 21600"/>
                  <a:gd name="T72" fmla="*/ 0 w 21600"/>
                  <a:gd name="T73" fmla="*/ 0 h 21600"/>
                  <a:gd name="T74" fmla="*/ 0 w 21600"/>
                  <a:gd name="T75" fmla="*/ 0 h 21600"/>
                  <a:gd name="T76" fmla="*/ 0 w 21600"/>
                  <a:gd name="T77" fmla="*/ 0 h 21600"/>
                  <a:gd name="T78" fmla="*/ 0 w 21600"/>
                  <a:gd name="T79" fmla="*/ 0 h 21600"/>
                  <a:gd name="T80" fmla="*/ 0 w 21600"/>
                  <a:gd name="T81" fmla="*/ 0 h 21600"/>
                  <a:gd name="T82" fmla="*/ 0 w 21600"/>
                  <a:gd name="T83" fmla="*/ 0 h 21600"/>
                  <a:gd name="T84" fmla="*/ 0 w 21600"/>
                  <a:gd name="T85" fmla="*/ 0 h 21600"/>
                  <a:gd name="T86" fmla="*/ 0 w 21600"/>
                  <a:gd name="T87" fmla="*/ 0 h 21600"/>
                  <a:gd name="T88" fmla="*/ 0 w 21600"/>
                  <a:gd name="T89" fmla="*/ 0 h 21600"/>
                  <a:gd name="T90" fmla="*/ 0 w 21600"/>
                  <a:gd name="T91" fmla="*/ 0 h 21600"/>
                  <a:gd name="T92" fmla="*/ 0 w 21600"/>
                  <a:gd name="T93" fmla="*/ 0 h 21600"/>
                  <a:gd name="T94" fmla="*/ 0 w 21600"/>
                  <a:gd name="T95" fmla="*/ 0 h 21600"/>
                  <a:gd name="T96" fmla="*/ 0 w 21600"/>
                  <a:gd name="T97" fmla="*/ 0 h 21600"/>
                  <a:gd name="T98" fmla="*/ 0 w 21600"/>
                  <a:gd name="T99" fmla="*/ 0 h 21600"/>
                  <a:gd name="T100" fmla="*/ 0 w 21600"/>
                  <a:gd name="T101" fmla="*/ 0 h 21600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21600" h="21600">
                    <a:moveTo>
                      <a:pt x="2236" y="9904"/>
                    </a:moveTo>
                    <a:cubicBezTo>
                      <a:pt x="2490" y="10359"/>
                      <a:pt x="2636" y="10997"/>
                      <a:pt x="2734" y="11787"/>
                    </a:cubicBezTo>
                    <a:cubicBezTo>
                      <a:pt x="2833" y="12577"/>
                      <a:pt x="2864" y="13428"/>
                      <a:pt x="2864" y="14460"/>
                    </a:cubicBezTo>
                    <a:cubicBezTo>
                      <a:pt x="2864" y="16952"/>
                      <a:pt x="2688" y="18501"/>
                      <a:pt x="2444" y="19473"/>
                    </a:cubicBezTo>
                    <a:cubicBezTo>
                      <a:pt x="2174" y="20567"/>
                      <a:pt x="1764" y="21175"/>
                      <a:pt x="1105" y="21175"/>
                    </a:cubicBezTo>
                    <a:lnTo>
                      <a:pt x="0" y="21175"/>
                    </a:lnTo>
                    <a:lnTo>
                      <a:pt x="623" y="395"/>
                    </a:lnTo>
                    <a:lnTo>
                      <a:pt x="1717" y="395"/>
                    </a:lnTo>
                    <a:cubicBezTo>
                      <a:pt x="2226" y="395"/>
                      <a:pt x="2480" y="942"/>
                      <a:pt x="2636" y="1671"/>
                    </a:cubicBezTo>
                    <a:cubicBezTo>
                      <a:pt x="2823" y="2552"/>
                      <a:pt x="2885" y="3797"/>
                      <a:pt x="2885" y="4982"/>
                    </a:cubicBezTo>
                    <a:cubicBezTo>
                      <a:pt x="2885" y="7017"/>
                      <a:pt x="2703" y="8871"/>
                      <a:pt x="2236" y="9904"/>
                    </a:cubicBezTo>
                    <a:close/>
                    <a:moveTo>
                      <a:pt x="908" y="17742"/>
                    </a:moveTo>
                    <a:lnTo>
                      <a:pt x="1188" y="17742"/>
                    </a:lnTo>
                    <a:cubicBezTo>
                      <a:pt x="1484" y="17742"/>
                      <a:pt x="1645" y="17529"/>
                      <a:pt x="1775" y="17134"/>
                    </a:cubicBezTo>
                    <a:cubicBezTo>
                      <a:pt x="1920" y="16679"/>
                      <a:pt x="2039" y="15919"/>
                      <a:pt x="2039" y="14643"/>
                    </a:cubicBezTo>
                    <a:cubicBezTo>
                      <a:pt x="2039" y="13792"/>
                      <a:pt x="1987" y="13155"/>
                      <a:pt x="1899" y="12760"/>
                    </a:cubicBezTo>
                    <a:cubicBezTo>
                      <a:pt x="1800" y="12304"/>
                      <a:pt x="1650" y="12091"/>
                      <a:pt x="1437" y="12091"/>
                    </a:cubicBezTo>
                    <a:lnTo>
                      <a:pt x="1079" y="12091"/>
                    </a:lnTo>
                    <a:lnTo>
                      <a:pt x="908" y="17742"/>
                    </a:lnTo>
                    <a:close/>
                    <a:moveTo>
                      <a:pt x="1183" y="8658"/>
                    </a:moveTo>
                    <a:lnTo>
                      <a:pt x="1365" y="8658"/>
                    </a:lnTo>
                    <a:cubicBezTo>
                      <a:pt x="1645" y="8658"/>
                      <a:pt x="1800" y="8324"/>
                      <a:pt x="1909" y="7838"/>
                    </a:cubicBezTo>
                    <a:cubicBezTo>
                      <a:pt x="2018" y="7352"/>
                      <a:pt x="2081" y="6623"/>
                      <a:pt x="2081" y="5742"/>
                    </a:cubicBezTo>
                    <a:cubicBezTo>
                      <a:pt x="2081" y="5134"/>
                      <a:pt x="2055" y="4739"/>
                      <a:pt x="1998" y="4405"/>
                    </a:cubicBezTo>
                    <a:cubicBezTo>
                      <a:pt x="1935" y="4071"/>
                      <a:pt x="1831" y="3828"/>
                      <a:pt x="1603" y="3828"/>
                    </a:cubicBezTo>
                    <a:lnTo>
                      <a:pt x="1328" y="3828"/>
                    </a:lnTo>
                    <a:lnTo>
                      <a:pt x="1183" y="8658"/>
                    </a:lnTo>
                    <a:close/>
                    <a:moveTo>
                      <a:pt x="4140" y="17742"/>
                    </a:moveTo>
                    <a:lnTo>
                      <a:pt x="5749" y="17742"/>
                    </a:lnTo>
                    <a:lnTo>
                      <a:pt x="5650" y="21175"/>
                    </a:lnTo>
                    <a:lnTo>
                      <a:pt x="3227" y="21175"/>
                    </a:lnTo>
                    <a:lnTo>
                      <a:pt x="3850" y="395"/>
                    </a:lnTo>
                    <a:lnTo>
                      <a:pt x="6247" y="395"/>
                    </a:lnTo>
                    <a:lnTo>
                      <a:pt x="6081" y="3828"/>
                    </a:lnTo>
                    <a:lnTo>
                      <a:pt x="4556" y="3828"/>
                    </a:lnTo>
                    <a:lnTo>
                      <a:pt x="4405" y="8871"/>
                    </a:lnTo>
                    <a:lnTo>
                      <a:pt x="5624" y="8871"/>
                    </a:lnTo>
                    <a:lnTo>
                      <a:pt x="5515" y="12425"/>
                    </a:lnTo>
                    <a:lnTo>
                      <a:pt x="4296" y="12425"/>
                    </a:lnTo>
                    <a:lnTo>
                      <a:pt x="4140" y="17742"/>
                    </a:lnTo>
                    <a:close/>
                    <a:moveTo>
                      <a:pt x="8540" y="395"/>
                    </a:moveTo>
                    <a:lnTo>
                      <a:pt x="9298" y="11878"/>
                    </a:lnTo>
                    <a:lnTo>
                      <a:pt x="10792" y="395"/>
                    </a:lnTo>
                    <a:lnTo>
                      <a:pt x="11456" y="395"/>
                    </a:lnTo>
                    <a:lnTo>
                      <a:pt x="10834" y="21175"/>
                    </a:lnTo>
                    <a:lnTo>
                      <a:pt x="10092" y="21175"/>
                    </a:lnTo>
                    <a:lnTo>
                      <a:pt x="10450" y="9053"/>
                    </a:lnTo>
                    <a:lnTo>
                      <a:pt x="9495" y="16436"/>
                    </a:lnTo>
                    <a:lnTo>
                      <a:pt x="8872" y="16436"/>
                    </a:lnTo>
                    <a:lnTo>
                      <a:pt x="8354" y="8658"/>
                    </a:lnTo>
                    <a:lnTo>
                      <a:pt x="7975" y="21175"/>
                    </a:lnTo>
                    <a:lnTo>
                      <a:pt x="7295" y="21175"/>
                    </a:lnTo>
                    <a:lnTo>
                      <a:pt x="7918" y="395"/>
                    </a:lnTo>
                    <a:lnTo>
                      <a:pt x="8540" y="395"/>
                    </a:lnTo>
                    <a:close/>
                    <a:moveTo>
                      <a:pt x="11685" y="13640"/>
                    </a:moveTo>
                    <a:cubicBezTo>
                      <a:pt x="11685" y="10451"/>
                      <a:pt x="11820" y="7321"/>
                      <a:pt x="12058" y="4921"/>
                    </a:cubicBezTo>
                    <a:cubicBezTo>
                      <a:pt x="12380" y="1701"/>
                      <a:pt x="12893" y="0"/>
                      <a:pt x="13610" y="0"/>
                    </a:cubicBezTo>
                    <a:cubicBezTo>
                      <a:pt x="14429" y="0"/>
                      <a:pt x="14990" y="2521"/>
                      <a:pt x="14990" y="7959"/>
                    </a:cubicBezTo>
                    <a:cubicBezTo>
                      <a:pt x="14990" y="11149"/>
                      <a:pt x="14855" y="14278"/>
                      <a:pt x="14616" y="16678"/>
                    </a:cubicBezTo>
                    <a:cubicBezTo>
                      <a:pt x="14295" y="19899"/>
                      <a:pt x="13781" y="21600"/>
                      <a:pt x="13065" y="21600"/>
                    </a:cubicBezTo>
                    <a:cubicBezTo>
                      <a:pt x="12245" y="21600"/>
                      <a:pt x="11685" y="19078"/>
                      <a:pt x="11685" y="13640"/>
                    </a:cubicBezTo>
                    <a:close/>
                    <a:moveTo>
                      <a:pt x="12790" y="6775"/>
                    </a:moveTo>
                    <a:cubicBezTo>
                      <a:pt x="12619" y="8688"/>
                      <a:pt x="12520" y="11180"/>
                      <a:pt x="12520" y="13640"/>
                    </a:cubicBezTo>
                    <a:cubicBezTo>
                      <a:pt x="12520" y="16770"/>
                      <a:pt x="12764" y="17894"/>
                      <a:pt x="13127" y="17894"/>
                    </a:cubicBezTo>
                    <a:cubicBezTo>
                      <a:pt x="13469" y="17894"/>
                      <a:pt x="13713" y="16709"/>
                      <a:pt x="13885" y="14825"/>
                    </a:cubicBezTo>
                    <a:cubicBezTo>
                      <a:pt x="14056" y="12912"/>
                      <a:pt x="14154" y="10420"/>
                      <a:pt x="14154" y="7960"/>
                    </a:cubicBezTo>
                    <a:cubicBezTo>
                      <a:pt x="14154" y="4830"/>
                      <a:pt x="13911" y="3706"/>
                      <a:pt x="13547" y="3706"/>
                    </a:cubicBezTo>
                    <a:cubicBezTo>
                      <a:pt x="13205" y="3706"/>
                      <a:pt x="12961" y="4891"/>
                      <a:pt x="12790" y="6775"/>
                    </a:cubicBezTo>
                    <a:close/>
                    <a:moveTo>
                      <a:pt x="18098" y="10177"/>
                    </a:moveTo>
                    <a:cubicBezTo>
                      <a:pt x="17963" y="11271"/>
                      <a:pt x="17745" y="12182"/>
                      <a:pt x="17459" y="12851"/>
                    </a:cubicBezTo>
                    <a:lnTo>
                      <a:pt x="18009" y="21175"/>
                    </a:lnTo>
                    <a:lnTo>
                      <a:pt x="17143" y="21175"/>
                    </a:lnTo>
                    <a:lnTo>
                      <a:pt x="16728" y="13641"/>
                    </a:lnTo>
                    <a:lnTo>
                      <a:pt x="16251" y="13641"/>
                    </a:lnTo>
                    <a:lnTo>
                      <a:pt x="16027" y="21175"/>
                    </a:lnTo>
                    <a:lnTo>
                      <a:pt x="15218" y="21175"/>
                    </a:lnTo>
                    <a:lnTo>
                      <a:pt x="15841" y="395"/>
                    </a:lnTo>
                    <a:lnTo>
                      <a:pt x="17050" y="395"/>
                    </a:lnTo>
                    <a:cubicBezTo>
                      <a:pt x="17491" y="395"/>
                      <a:pt x="17797" y="942"/>
                      <a:pt x="17989" y="1914"/>
                    </a:cubicBezTo>
                    <a:cubicBezTo>
                      <a:pt x="18202" y="2977"/>
                      <a:pt x="18290" y="4526"/>
                      <a:pt x="18290" y="6319"/>
                    </a:cubicBezTo>
                    <a:cubicBezTo>
                      <a:pt x="18290" y="7807"/>
                      <a:pt x="18227" y="9114"/>
                      <a:pt x="18098" y="10177"/>
                    </a:cubicBezTo>
                    <a:close/>
                    <a:moveTo>
                      <a:pt x="16354" y="10208"/>
                    </a:moveTo>
                    <a:lnTo>
                      <a:pt x="16666" y="10208"/>
                    </a:lnTo>
                    <a:cubicBezTo>
                      <a:pt x="16915" y="10208"/>
                      <a:pt x="17138" y="9934"/>
                      <a:pt x="17288" y="9114"/>
                    </a:cubicBezTo>
                    <a:cubicBezTo>
                      <a:pt x="17408" y="8476"/>
                      <a:pt x="17486" y="7443"/>
                      <a:pt x="17486" y="6349"/>
                    </a:cubicBezTo>
                    <a:cubicBezTo>
                      <a:pt x="17486" y="5651"/>
                      <a:pt x="17454" y="5012"/>
                      <a:pt x="17382" y="4587"/>
                    </a:cubicBezTo>
                    <a:cubicBezTo>
                      <a:pt x="17299" y="4101"/>
                      <a:pt x="17169" y="3828"/>
                      <a:pt x="16951" y="3828"/>
                    </a:cubicBezTo>
                    <a:lnTo>
                      <a:pt x="16546" y="3828"/>
                    </a:lnTo>
                    <a:lnTo>
                      <a:pt x="16354" y="10208"/>
                    </a:lnTo>
                    <a:close/>
                    <a:moveTo>
                      <a:pt x="19493" y="17742"/>
                    </a:moveTo>
                    <a:lnTo>
                      <a:pt x="21102" y="17742"/>
                    </a:lnTo>
                    <a:lnTo>
                      <a:pt x="21003" y="21175"/>
                    </a:lnTo>
                    <a:lnTo>
                      <a:pt x="18580" y="21175"/>
                    </a:lnTo>
                    <a:lnTo>
                      <a:pt x="19203" y="395"/>
                    </a:lnTo>
                    <a:lnTo>
                      <a:pt x="21600" y="395"/>
                    </a:lnTo>
                    <a:lnTo>
                      <a:pt x="21434" y="3828"/>
                    </a:lnTo>
                    <a:lnTo>
                      <a:pt x="19909" y="3828"/>
                    </a:lnTo>
                    <a:lnTo>
                      <a:pt x="19758" y="8871"/>
                    </a:lnTo>
                    <a:lnTo>
                      <a:pt x="20977" y="8871"/>
                    </a:lnTo>
                    <a:lnTo>
                      <a:pt x="20868" y="12425"/>
                    </a:lnTo>
                    <a:lnTo>
                      <a:pt x="19649" y="12425"/>
                    </a:lnTo>
                    <a:lnTo>
                      <a:pt x="19493" y="17742"/>
                    </a:lnTo>
                    <a:close/>
                    <a:moveTo>
                      <a:pt x="19493" y="17742"/>
                    </a:move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 cap="flat">
                    <a:solidFill>
                      <a:srgbClr val="000000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en-GB"/>
              </a:p>
            </p:txBody>
          </p:sp>
          <p:sp>
            <p:nvSpPr>
              <p:cNvPr id="16" name="AutoShape 3"/>
              <p:cNvSpPr>
                <a:spLocks/>
              </p:cNvSpPr>
              <p:nvPr/>
            </p:nvSpPr>
            <p:spPr bwMode="auto">
              <a:xfrm>
                <a:off x="533" y="98"/>
                <a:ext cx="58" cy="13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1600" h="21600">
                    <a:moveTo>
                      <a:pt x="0" y="21600"/>
                    </a:moveTo>
                    <a:lnTo>
                      <a:pt x="870" y="0"/>
                    </a:lnTo>
                    <a:lnTo>
                      <a:pt x="21600" y="0"/>
                    </a:lnTo>
                    <a:lnTo>
                      <a:pt x="20730" y="21600"/>
                    </a:lnTo>
                    <a:lnTo>
                      <a:pt x="0" y="21600"/>
                    </a:lnTo>
                    <a:close/>
                    <a:moveTo>
                      <a:pt x="0" y="21600"/>
                    </a:moveTo>
                  </a:path>
                </a:pathLst>
              </a:custGeom>
              <a:solidFill>
                <a:srgbClr val="7DF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 cap="flat">
                    <a:solidFill>
                      <a:srgbClr val="000000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en-GB"/>
              </a:p>
            </p:txBody>
          </p:sp>
        </p:grpSp>
        <p:sp>
          <p:nvSpPr>
            <p:cNvPr id="13" name="22 CuadroTexto"/>
            <p:cNvSpPr txBox="1"/>
            <p:nvPr userDrawn="1"/>
          </p:nvSpPr>
          <p:spPr>
            <a:xfrm>
              <a:off x="58864" y="6577689"/>
              <a:ext cx="2103461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b="0" i="1" noProof="0" dirty="0" smtClean="0">
                  <a:solidFill>
                    <a:schemeClr val="accent5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SCOVER</a:t>
              </a:r>
              <a:r>
                <a:rPr lang="en-US" sz="1000" b="0" i="1" dirty="0" smtClean="0">
                  <a:solidFill>
                    <a:schemeClr val="accent5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DISRUPT, DELIVER</a:t>
              </a:r>
              <a:endParaRPr lang="en-US" sz="1000" b="0" i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810059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789" r:id="rId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17B4C6"/>
          </a:solidFill>
          <a:latin typeface="+mj-lt"/>
          <a:ea typeface="+mj-ea"/>
          <a:cs typeface="+mj-cs"/>
          <a:sym typeface="Gill Sans" pitchFamily="122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122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122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122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122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889000" indent="-571500" algn="l" rtl="0" eaLnBrk="0" fontAlgn="base" hangingPunct="0">
        <a:spcBef>
          <a:spcPts val="3400"/>
        </a:spcBef>
        <a:spcAft>
          <a:spcPct val="0"/>
        </a:spcAft>
        <a:buSzPct val="171000"/>
        <a:buFont typeface="Gill Sans" pitchFamily="122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1pPr>
      <a:lvl2pPr marL="1333500" indent="-571500" algn="l" rtl="0" eaLnBrk="0" fontAlgn="base" hangingPunct="0">
        <a:spcBef>
          <a:spcPts val="3400"/>
        </a:spcBef>
        <a:spcAft>
          <a:spcPct val="0"/>
        </a:spcAft>
        <a:buSzPct val="171000"/>
        <a:buFont typeface="Gill Sans" pitchFamily="122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2pPr>
      <a:lvl3pPr marL="1778000" indent="-571500" algn="l" rtl="0" eaLnBrk="0" fontAlgn="base" hangingPunct="0">
        <a:spcBef>
          <a:spcPts val="3400"/>
        </a:spcBef>
        <a:spcAft>
          <a:spcPct val="0"/>
        </a:spcAft>
        <a:buSzPct val="171000"/>
        <a:buFont typeface="Gill Sans" pitchFamily="122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3pPr>
      <a:lvl4pPr marL="2222500" indent="-571500" algn="l" rtl="0" eaLnBrk="0" fontAlgn="base" hangingPunct="0">
        <a:spcBef>
          <a:spcPts val="3400"/>
        </a:spcBef>
        <a:spcAft>
          <a:spcPct val="0"/>
        </a:spcAft>
        <a:buSzPct val="171000"/>
        <a:buFont typeface="Gill Sans" pitchFamily="122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4pPr>
      <a:lvl5pPr marL="2667000" indent="-571500" algn="l" rtl="0" eaLnBrk="0" fontAlgn="base" hangingPunct="0">
        <a:spcBef>
          <a:spcPts val="3400"/>
        </a:spcBef>
        <a:spcAft>
          <a:spcPct val="0"/>
        </a:spcAft>
        <a:buSzPct val="171000"/>
        <a:buFont typeface="Gill Sans" pitchFamily="122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5pPr>
      <a:lvl6pPr marL="3124200" indent="-571500" algn="l" rtl="0" fontAlgn="base">
        <a:spcBef>
          <a:spcPts val="3400"/>
        </a:spcBef>
        <a:spcAft>
          <a:spcPct val="0"/>
        </a:spcAft>
        <a:buSzPct val="171000"/>
        <a:buFont typeface="Gill Sans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3581400" indent="-571500" algn="l" rtl="0" fontAlgn="base">
        <a:spcBef>
          <a:spcPts val="3400"/>
        </a:spcBef>
        <a:spcAft>
          <a:spcPct val="0"/>
        </a:spcAft>
        <a:buSzPct val="171000"/>
        <a:buFont typeface="Gill Sans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4038600" indent="-571500" algn="l" rtl="0" fontAlgn="base">
        <a:spcBef>
          <a:spcPts val="3400"/>
        </a:spcBef>
        <a:spcAft>
          <a:spcPct val="0"/>
        </a:spcAft>
        <a:buSzPct val="171000"/>
        <a:buFont typeface="Gill Sans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4495800" indent="-571500" algn="l" rtl="0" fontAlgn="base">
        <a:spcBef>
          <a:spcPts val="3400"/>
        </a:spcBef>
        <a:spcAft>
          <a:spcPct val="0"/>
        </a:spcAft>
        <a:buSzPct val="171000"/>
        <a:buFont typeface="Gill Sans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2"/>
          <p:cNvSpPr txBox="1">
            <a:spLocks noGrp="1" noChangeArrowheads="1"/>
          </p:cNvSpPr>
          <p:nvPr>
            <p:ph type="sldNum" sz="quarter" idx="4"/>
          </p:nvPr>
        </p:nvSpPr>
        <p:spPr bwMode="auto">
          <a:xfrm>
            <a:off x="4425880" y="6464175"/>
            <a:ext cx="279065" cy="29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072534"/>
                </a:solidFill>
                <a:latin typeface="Trebuchet MS" pitchFamily="34" charset="0"/>
                <a:ea typeface="ヒラギノ角ゴ ProN W3" pitchFamily="122" charset="-128"/>
                <a:sym typeface="Trebuchet MS" pitchFamily="34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Gill Sans" pitchFamily="122" charset="0"/>
                <a:ea typeface="ヒラギノ角ゴ ProN W3" pitchFamily="122" charset="-128"/>
                <a:sym typeface="Gill Sans" pitchFamily="122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Gill Sans" pitchFamily="122" charset="0"/>
                <a:ea typeface="ヒラギノ角ゴ ProN W3" pitchFamily="122" charset="-128"/>
                <a:sym typeface="Gill Sans" pitchFamily="122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Gill Sans" pitchFamily="122" charset="0"/>
                <a:ea typeface="ヒラギノ角ゴ ProN W3" pitchFamily="122" charset="-128"/>
                <a:sym typeface="Gill Sans" pitchFamily="122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Gill Sans" pitchFamily="122" charset="0"/>
                <a:ea typeface="ヒラギノ角ゴ ProN W3" pitchFamily="122" charset="-128"/>
                <a:sym typeface="Gill Sans" pitchFamily="122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Gill Sans" pitchFamily="122" charset="0"/>
                <a:ea typeface="ヒラギノ角ゴ ProN W3" pitchFamily="122" charset="-128"/>
                <a:sym typeface="Gill Sans" pitchFamily="122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Gill Sans" pitchFamily="122" charset="0"/>
                <a:ea typeface="ヒラギノ角ゴ ProN W3" pitchFamily="122" charset="-128"/>
                <a:sym typeface="Gill Sans" pitchFamily="122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Gill Sans" pitchFamily="122" charset="0"/>
                <a:ea typeface="ヒラギノ角ゴ ProN W3" pitchFamily="122" charset="-128"/>
                <a:sym typeface="Gill Sans" pitchFamily="122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Gill Sans" pitchFamily="122" charset="0"/>
                <a:ea typeface="ヒラギノ角ゴ ProN W3" pitchFamily="122" charset="-128"/>
                <a:sym typeface="Gill Sans" pitchFamily="122" charset="0"/>
              </a:defRPr>
            </a:lvl9pPr>
          </a:lstStyle>
          <a:p>
            <a:fld id="{9D9F8B9A-560A-470D-9EA6-79F5999904E6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7172" name="Rectangle 13"/>
          <p:cNvSpPr>
            <a:spLocks/>
          </p:cNvSpPr>
          <p:nvPr userDrawn="1"/>
        </p:nvSpPr>
        <p:spPr bwMode="auto">
          <a:xfrm rot="10800000">
            <a:off x="7164293" y="6332538"/>
            <a:ext cx="864577" cy="49212"/>
          </a:xfrm>
          <a:prstGeom prst="rect">
            <a:avLst/>
          </a:prstGeom>
          <a:solidFill>
            <a:srgbClr val="156273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173" name="Rectangle 12"/>
          <p:cNvSpPr>
            <a:spLocks/>
          </p:cNvSpPr>
          <p:nvPr userDrawn="1"/>
        </p:nvSpPr>
        <p:spPr bwMode="auto">
          <a:xfrm rot="10800000">
            <a:off x="8015681" y="6332538"/>
            <a:ext cx="1122485" cy="49212"/>
          </a:xfrm>
          <a:prstGeom prst="rect">
            <a:avLst/>
          </a:prstGeom>
          <a:solidFill>
            <a:srgbClr val="11536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174" name="Rectangle 14"/>
          <p:cNvSpPr>
            <a:spLocks/>
          </p:cNvSpPr>
          <p:nvPr userDrawn="1"/>
        </p:nvSpPr>
        <p:spPr bwMode="auto">
          <a:xfrm rot="10800000">
            <a:off x="6268916" y="6332538"/>
            <a:ext cx="895350" cy="49212"/>
          </a:xfrm>
          <a:prstGeom prst="rect">
            <a:avLst/>
          </a:prstGeom>
          <a:solidFill>
            <a:srgbClr val="1C8494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175" name="Rectangle 15"/>
          <p:cNvSpPr>
            <a:spLocks/>
          </p:cNvSpPr>
          <p:nvPr userDrawn="1"/>
        </p:nvSpPr>
        <p:spPr bwMode="auto">
          <a:xfrm rot="10800000">
            <a:off x="-5857" y="6332538"/>
            <a:ext cx="6274777" cy="49212"/>
          </a:xfrm>
          <a:prstGeom prst="rect">
            <a:avLst/>
          </a:prstGeom>
          <a:solidFill>
            <a:srgbClr val="29C6D4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176" name="Rectangle 4"/>
          <p:cNvSpPr>
            <a:spLocks/>
          </p:cNvSpPr>
          <p:nvPr userDrawn="1"/>
        </p:nvSpPr>
        <p:spPr bwMode="auto">
          <a:xfrm>
            <a:off x="8417169" y="55"/>
            <a:ext cx="65943" cy="836613"/>
          </a:xfrm>
          <a:prstGeom prst="rect">
            <a:avLst/>
          </a:prstGeom>
          <a:solidFill>
            <a:srgbClr val="003B45"/>
          </a:solidFill>
          <a:ln>
            <a:noFill/>
          </a:ln>
          <a:extLst/>
        </p:spPr>
        <p:txBody>
          <a:bodyPr lIns="0" tIns="0" rIns="0" bIns="0"/>
          <a:lstStyle/>
          <a:p>
            <a:endParaRPr lang="es-ES"/>
          </a:p>
        </p:txBody>
      </p:sp>
      <p:grpSp>
        <p:nvGrpSpPr>
          <p:cNvPr id="7177" name="Agrupar 13"/>
          <p:cNvGrpSpPr>
            <a:grpSpLocks/>
          </p:cNvGrpSpPr>
          <p:nvPr userDrawn="1"/>
        </p:nvGrpSpPr>
        <p:grpSpPr bwMode="auto">
          <a:xfrm flipH="1">
            <a:off x="-5862" y="836613"/>
            <a:ext cx="9144000" cy="49212"/>
            <a:chOff x="-6350" y="6332112"/>
            <a:chExt cx="9906000" cy="49216"/>
          </a:xfrm>
        </p:grpSpPr>
        <p:sp>
          <p:nvSpPr>
            <p:cNvPr id="7179" name="Rectangle 13"/>
            <p:cNvSpPr>
              <a:spLocks/>
            </p:cNvSpPr>
            <p:nvPr userDrawn="1"/>
          </p:nvSpPr>
          <p:spPr bwMode="auto">
            <a:xfrm rot="10800000">
              <a:off x="7761312" y="6332112"/>
              <a:ext cx="936102" cy="49215"/>
            </a:xfrm>
            <a:prstGeom prst="rect">
              <a:avLst/>
            </a:prstGeom>
            <a:solidFill>
              <a:srgbClr val="1562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80" name="Rectangle 12"/>
            <p:cNvSpPr>
              <a:spLocks/>
            </p:cNvSpPr>
            <p:nvPr userDrawn="1"/>
          </p:nvSpPr>
          <p:spPr bwMode="auto">
            <a:xfrm rot="10800000">
              <a:off x="8682892" y="6332114"/>
              <a:ext cx="1216758" cy="49148"/>
            </a:xfrm>
            <a:prstGeom prst="rect">
              <a:avLst/>
            </a:prstGeom>
            <a:solidFill>
              <a:srgbClr val="1153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81" name="Rectangle 14"/>
            <p:cNvSpPr>
              <a:spLocks/>
            </p:cNvSpPr>
            <p:nvPr userDrawn="1"/>
          </p:nvSpPr>
          <p:spPr bwMode="auto">
            <a:xfrm rot="10800000">
              <a:off x="6791568" y="6332112"/>
              <a:ext cx="969744" cy="49215"/>
            </a:xfrm>
            <a:prstGeom prst="rect">
              <a:avLst/>
            </a:prstGeom>
            <a:solidFill>
              <a:srgbClr val="1C84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82" name="Rectangle 15"/>
            <p:cNvSpPr>
              <a:spLocks/>
            </p:cNvSpPr>
            <p:nvPr userDrawn="1"/>
          </p:nvSpPr>
          <p:spPr bwMode="auto">
            <a:xfrm rot="10800000">
              <a:off x="-6350" y="6332115"/>
              <a:ext cx="6797675" cy="49213"/>
            </a:xfrm>
            <a:prstGeom prst="rect">
              <a:avLst/>
            </a:prstGeom>
            <a:solidFill>
              <a:srgbClr val="29C6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s-ES"/>
            </a:p>
          </p:txBody>
        </p:sp>
      </p:grpSp>
      <p:sp>
        <p:nvSpPr>
          <p:cNvPr id="7178" name="AutoShape 5"/>
          <p:cNvSpPr>
            <a:spLocks/>
          </p:cNvSpPr>
          <p:nvPr userDrawn="1"/>
        </p:nvSpPr>
        <p:spPr bwMode="auto">
          <a:xfrm>
            <a:off x="8028844" y="6502400"/>
            <a:ext cx="830873" cy="249238"/>
          </a:xfrm>
          <a:custGeom>
            <a:avLst/>
            <a:gdLst>
              <a:gd name="T0" fmla="*/ 0 w 21600"/>
              <a:gd name="T1" fmla="*/ 892206852 h 21600"/>
              <a:gd name="T2" fmla="*/ 2147483647 w 21600"/>
              <a:gd name="T3" fmla="*/ 141473318 h 21600"/>
              <a:gd name="T4" fmla="*/ 2147483647 w 21600"/>
              <a:gd name="T5" fmla="*/ 96575026 h 21600"/>
              <a:gd name="T6" fmla="*/ 2147483647 w 21600"/>
              <a:gd name="T7" fmla="*/ 275193756 h 21600"/>
              <a:gd name="T8" fmla="*/ 2147483647 w 21600"/>
              <a:gd name="T9" fmla="*/ 59300706 h 21600"/>
              <a:gd name="T10" fmla="*/ 2147483647 w 21600"/>
              <a:gd name="T11" fmla="*/ 702363606 h 21600"/>
              <a:gd name="T12" fmla="*/ 2147483647 w 21600"/>
              <a:gd name="T13" fmla="*/ 341566847 h 21600"/>
              <a:gd name="T14" fmla="*/ 2147483647 w 21600"/>
              <a:gd name="T15" fmla="*/ 6989884 h 21600"/>
              <a:gd name="T16" fmla="*/ 2147483647 w 21600"/>
              <a:gd name="T17" fmla="*/ 12835521 h 21600"/>
              <a:gd name="T18" fmla="*/ 2147483647 w 21600"/>
              <a:gd name="T19" fmla="*/ 406713202 h 21600"/>
              <a:gd name="T20" fmla="*/ 2147483647 w 21600"/>
              <a:gd name="T21" fmla="*/ 446866336 h 21600"/>
              <a:gd name="T22" fmla="*/ 2147483647 w 21600"/>
              <a:gd name="T23" fmla="*/ 193528986 h 21600"/>
              <a:gd name="T24" fmla="*/ 2147483647 w 21600"/>
              <a:gd name="T25" fmla="*/ 592022721 h 21600"/>
              <a:gd name="T26" fmla="*/ 2147483647 w 21600"/>
              <a:gd name="T27" fmla="*/ 635735349 h 21600"/>
              <a:gd name="T28" fmla="*/ 2147483647 w 21600"/>
              <a:gd name="T29" fmla="*/ 421156883 h 21600"/>
              <a:gd name="T30" fmla="*/ 2147483647 w 21600"/>
              <a:gd name="T31" fmla="*/ 88484663 h 21600"/>
              <a:gd name="T32" fmla="*/ 2147483647 w 21600"/>
              <a:gd name="T33" fmla="*/ 232540374 h 21600"/>
              <a:gd name="T34" fmla="*/ 2147483647 w 21600"/>
              <a:gd name="T35" fmla="*/ 232540374 h 21600"/>
              <a:gd name="T36" fmla="*/ 2147483647 w 21600"/>
              <a:gd name="T37" fmla="*/ 528997692 h 21600"/>
              <a:gd name="T38" fmla="*/ 2147483647 w 21600"/>
              <a:gd name="T39" fmla="*/ 523871306 h 21600"/>
              <a:gd name="T40" fmla="*/ 2147483647 w 21600"/>
              <a:gd name="T41" fmla="*/ 493754362 h 21600"/>
              <a:gd name="T42" fmla="*/ 2147483647 w 21600"/>
              <a:gd name="T43" fmla="*/ 631585869 h 21600"/>
              <a:gd name="T44" fmla="*/ 2147483647 w 21600"/>
              <a:gd name="T45" fmla="*/ 201322939 h 21600"/>
              <a:gd name="T46" fmla="*/ 2147483647 w 21600"/>
              <a:gd name="T47" fmla="*/ 482658754 h 21600"/>
              <a:gd name="T48" fmla="*/ 2147483647 w 21600"/>
              <a:gd name="T49" fmla="*/ 231014554 h 21600"/>
              <a:gd name="T50" fmla="*/ 2147483647 w 21600"/>
              <a:gd name="T51" fmla="*/ 318228550 h 21600"/>
              <a:gd name="T52" fmla="*/ 2147483647 w 21600"/>
              <a:gd name="T53" fmla="*/ 277015998 h 21600"/>
              <a:gd name="T54" fmla="*/ 2147483647 w 21600"/>
              <a:gd name="T55" fmla="*/ 522811888 h 21600"/>
              <a:gd name="T56" fmla="*/ 2147483647 w 21600"/>
              <a:gd name="T57" fmla="*/ 219323441 h 21600"/>
              <a:gd name="T58" fmla="*/ 2147483647 w 21600"/>
              <a:gd name="T59" fmla="*/ 536451489 h 21600"/>
              <a:gd name="T60" fmla="*/ 2147483647 w 21600"/>
              <a:gd name="T61" fmla="*/ 359611267 h 21600"/>
              <a:gd name="T62" fmla="*/ 2147483647 w 21600"/>
              <a:gd name="T63" fmla="*/ 245035739 h 21600"/>
              <a:gd name="T64" fmla="*/ 2147483647 w 21600"/>
              <a:gd name="T65" fmla="*/ 482658754 h 21600"/>
              <a:gd name="T66" fmla="*/ 2147483647 w 21600"/>
              <a:gd name="T67" fmla="*/ 710539155 h 21600"/>
              <a:gd name="T68" fmla="*/ 2147483647 w 21600"/>
              <a:gd name="T69" fmla="*/ 238512269 h 21600"/>
              <a:gd name="T70" fmla="*/ 2147483647 w 21600"/>
              <a:gd name="T71" fmla="*/ 386550130 h 21600"/>
              <a:gd name="T72" fmla="*/ 2147483647 w 21600"/>
              <a:gd name="T73" fmla="*/ 290400434 h 21600"/>
              <a:gd name="T74" fmla="*/ 2147483647 w 21600"/>
              <a:gd name="T75" fmla="*/ 415056069 h 21600"/>
              <a:gd name="T76" fmla="*/ 2147483647 w 21600"/>
              <a:gd name="T77" fmla="*/ 544753284 h 21600"/>
              <a:gd name="T78" fmla="*/ 2147483647 w 21600"/>
              <a:gd name="T79" fmla="*/ 589991905 h 21600"/>
              <a:gd name="T80" fmla="*/ 2147483647 w 21600"/>
              <a:gd name="T81" fmla="*/ 201067773 h 21600"/>
              <a:gd name="T82" fmla="*/ 2147483647 w 21600"/>
              <a:gd name="T83" fmla="*/ 231736294 h 21600"/>
              <a:gd name="T84" fmla="*/ 2147483647 w 21600"/>
              <a:gd name="T85" fmla="*/ 241690339 h 21600"/>
              <a:gd name="T86" fmla="*/ 2147483647 w 21600"/>
              <a:gd name="T87" fmla="*/ 501633500 h 21600"/>
              <a:gd name="T88" fmla="*/ 2147483647 w 21600"/>
              <a:gd name="T89" fmla="*/ 202171109 h 21600"/>
              <a:gd name="T90" fmla="*/ 2147483647 w 21600"/>
              <a:gd name="T91" fmla="*/ 34859246 h 21600"/>
              <a:gd name="T92" fmla="*/ 2147483647 w 21600"/>
              <a:gd name="T93" fmla="*/ 161040897 h 21600"/>
              <a:gd name="T94" fmla="*/ 2147483647 w 21600"/>
              <a:gd name="T95" fmla="*/ 209369568 h 21600"/>
              <a:gd name="T96" fmla="*/ 2147483647 w 21600"/>
              <a:gd name="T97" fmla="*/ 245966066 h 21600"/>
              <a:gd name="T98" fmla="*/ 2147483647 w 21600"/>
              <a:gd name="T99" fmla="*/ 501592243 h 21600"/>
              <a:gd name="T100" fmla="*/ 2147483647 w 21600"/>
              <a:gd name="T101" fmla="*/ 239486513 h 21600"/>
              <a:gd name="T102" fmla="*/ 2147483647 w 21600"/>
              <a:gd name="T103" fmla="*/ 497651349 h 21600"/>
              <a:gd name="T104" fmla="*/ 2147483647 w 21600"/>
              <a:gd name="T105" fmla="*/ 415522655 h 2160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1600" h="21600">
                <a:moveTo>
                  <a:pt x="21600" y="21064"/>
                </a:moveTo>
                <a:cubicBezTo>
                  <a:pt x="21600" y="20776"/>
                  <a:pt x="16158" y="20540"/>
                  <a:pt x="10801" y="20540"/>
                </a:cubicBezTo>
                <a:cubicBezTo>
                  <a:pt x="5443" y="20540"/>
                  <a:pt x="0" y="20776"/>
                  <a:pt x="0" y="21064"/>
                </a:cubicBezTo>
                <a:cubicBezTo>
                  <a:pt x="0" y="21350"/>
                  <a:pt x="5443" y="21600"/>
                  <a:pt x="10801" y="21600"/>
                </a:cubicBezTo>
                <a:cubicBezTo>
                  <a:pt x="16158" y="21599"/>
                  <a:pt x="21600" y="21350"/>
                  <a:pt x="21600" y="21064"/>
                </a:cubicBezTo>
                <a:close/>
                <a:moveTo>
                  <a:pt x="16099" y="3340"/>
                </a:moveTo>
                <a:cubicBezTo>
                  <a:pt x="16246" y="3334"/>
                  <a:pt x="16394" y="2835"/>
                  <a:pt x="16425" y="2245"/>
                </a:cubicBezTo>
                <a:cubicBezTo>
                  <a:pt x="16461" y="1634"/>
                  <a:pt x="16365" y="1165"/>
                  <a:pt x="16216" y="1179"/>
                </a:cubicBezTo>
                <a:cubicBezTo>
                  <a:pt x="16070" y="1180"/>
                  <a:pt x="15924" y="1670"/>
                  <a:pt x="15889" y="2280"/>
                </a:cubicBezTo>
                <a:cubicBezTo>
                  <a:pt x="15858" y="2875"/>
                  <a:pt x="15949" y="3352"/>
                  <a:pt x="16099" y="3340"/>
                </a:cubicBezTo>
                <a:close/>
                <a:moveTo>
                  <a:pt x="2148" y="6604"/>
                </a:moveTo>
                <a:lnTo>
                  <a:pt x="2183" y="6497"/>
                </a:lnTo>
                <a:cubicBezTo>
                  <a:pt x="2134" y="6207"/>
                  <a:pt x="2116" y="5697"/>
                  <a:pt x="2119" y="5390"/>
                </a:cubicBezTo>
                <a:cubicBezTo>
                  <a:pt x="2136" y="2842"/>
                  <a:pt x="2874" y="1400"/>
                  <a:pt x="4024" y="1400"/>
                </a:cubicBezTo>
                <a:lnTo>
                  <a:pt x="4661" y="1400"/>
                </a:lnTo>
                <a:cubicBezTo>
                  <a:pt x="4291" y="2185"/>
                  <a:pt x="3981" y="3230"/>
                  <a:pt x="3743" y="5197"/>
                </a:cubicBezTo>
                <a:cubicBezTo>
                  <a:pt x="3640" y="6043"/>
                  <a:pt x="3153" y="10591"/>
                  <a:pt x="2954" y="12638"/>
                </a:cubicBezTo>
                <a:cubicBezTo>
                  <a:pt x="2706" y="15072"/>
                  <a:pt x="2548" y="16177"/>
                  <a:pt x="2352" y="16582"/>
                </a:cubicBezTo>
                <a:lnTo>
                  <a:pt x="2385" y="16802"/>
                </a:lnTo>
                <a:cubicBezTo>
                  <a:pt x="2937" y="16925"/>
                  <a:pt x="3266" y="15896"/>
                  <a:pt x="3478" y="13994"/>
                </a:cubicBezTo>
                <a:cubicBezTo>
                  <a:pt x="3680" y="12197"/>
                  <a:pt x="3947" y="9336"/>
                  <a:pt x="4078" y="8064"/>
                </a:cubicBezTo>
                <a:cubicBezTo>
                  <a:pt x="4502" y="3971"/>
                  <a:pt x="4688" y="2248"/>
                  <a:pt x="5026" y="1400"/>
                </a:cubicBezTo>
                <a:cubicBezTo>
                  <a:pt x="5497" y="1389"/>
                  <a:pt x="5951" y="1389"/>
                  <a:pt x="5951" y="1389"/>
                </a:cubicBezTo>
                <a:cubicBezTo>
                  <a:pt x="6458" y="1340"/>
                  <a:pt x="6674" y="880"/>
                  <a:pt x="6832" y="165"/>
                </a:cubicBezTo>
                <a:lnTo>
                  <a:pt x="6796" y="0"/>
                </a:lnTo>
                <a:cubicBezTo>
                  <a:pt x="6670" y="251"/>
                  <a:pt x="6395" y="302"/>
                  <a:pt x="6162" y="303"/>
                </a:cubicBezTo>
                <a:lnTo>
                  <a:pt x="3875" y="303"/>
                </a:lnTo>
                <a:cubicBezTo>
                  <a:pt x="2588" y="303"/>
                  <a:pt x="1799" y="1846"/>
                  <a:pt x="1671" y="4142"/>
                </a:cubicBezTo>
                <a:cubicBezTo>
                  <a:pt x="1608" y="5253"/>
                  <a:pt x="1777" y="6456"/>
                  <a:pt x="2148" y="6604"/>
                </a:cubicBezTo>
                <a:close/>
                <a:moveTo>
                  <a:pt x="6336" y="9602"/>
                </a:moveTo>
                <a:cubicBezTo>
                  <a:pt x="6013" y="11310"/>
                  <a:pt x="5562" y="12860"/>
                  <a:pt x="5174" y="12860"/>
                </a:cubicBezTo>
                <a:cubicBezTo>
                  <a:pt x="5009" y="12881"/>
                  <a:pt x="4936" y="12535"/>
                  <a:pt x="4940" y="11843"/>
                </a:cubicBezTo>
                <a:cubicBezTo>
                  <a:pt x="4940" y="11428"/>
                  <a:pt x="4966" y="10844"/>
                  <a:pt x="4989" y="10550"/>
                </a:cubicBezTo>
                <a:cubicBezTo>
                  <a:pt x="5355" y="9874"/>
                  <a:pt x="5728" y="9115"/>
                  <a:pt x="6060" y="7863"/>
                </a:cubicBezTo>
                <a:cubicBezTo>
                  <a:pt x="6246" y="7137"/>
                  <a:pt x="6370" y="6407"/>
                  <a:pt x="6376" y="5655"/>
                </a:cubicBezTo>
                <a:cubicBezTo>
                  <a:pt x="6380" y="4944"/>
                  <a:pt x="6257" y="4583"/>
                  <a:pt x="6015" y="4569"/>
                </a:cubicBezTo>
                <a:cubicBezTo>
                  <a:pt x="5664" y="4554"/>
                  <a:pt x="5243" y="5429"/>
                  <a:pt x="4968" y="6495"/>
                </a:cubicBezTo>
                <a:cubicBezTo>
                  <a:pt x="4609" y="7927"/>
                  <a:pt x="4332" y="9949"/>
                  <a:pt x="4325" y="11748"/>
                </a:cubicBezTo>
                <a:cubicBezTo>
                  <a:pt x="4321" y="13024"/>
                  <a:pt x="4487" y="14037"/>
                  <a:pt x="4936" y="13977"/>
                </a:cubicBezTo>
                <a:cubicBezTo>
                  <a:pt x="5417" y="13928"/>
                  <a:pt x="5891" y="12574"/>
                  <a:pt x="6133" y="11593"/>
                </a:cubicBezTo>
                <a:cubicBezTo>
                  <a:pt x="6105" y="12014"/>
                  <a:pt x="6085" y="12408"/>
                  <a:pt x="6085" y="12732"/>
                </a:cubicBezTo>
                <a:cubicBezTo>
                  <a:pt x="6085" y="13864"/>
                  <a:pt x="6239" y="14667"/>
                  <a:pt x="6544" y="15009"/>
                </a:cubicBezTo>
                <a:lnTo>
                  <a:pt x="6605" y="14903"/>
                </a:lnTo>
                <a:cubicBezTo>
                  <a:pt x="6578" y="14599"/>
                  <a:pt x="6571" y="14277"/>
                  <a:pt x="6578" y="13919"/>
                </a:cubicBezTo>
                <a:cubicBezTo>
                  <a:pt x="6599" y="12819"/>
                  <a:pt x="6719" y="11576"/>
                  <a:pt x="6894" y="9943"/>
                </a:cubicBezTo>
                <a:cubicBezTo>
                  <a:pt x="7231" y="6855"/>
                  <a:pt x="7720" y="3323"/>
                  <a:pt x="7934" y="1239"/>
                </a:cubicBezTo>
                <a:lnTo>
                  <a:pt x="7422" y="1596"/>
                </a:lnTo>
                <a:cubicBezTo>
                  <a:pt x="7342" y="1656"/>
                  <a:pt x="7292" y="1877"/>
                  <a:pt x="7265" y="2089"/>
                </a:cubicBezTo>
                <a:cubicBezTo>
                  <a:pt x="7018" y="4008"/>
                  <a:pt x="6764" y="6055"/>
                  <a:pt x="6447" y="8720"/>
                </a:cubicBezTo>
                <a:cubicBezTo>
                  <a:pt x="6410" y="9004"/>
                  <a:pt x="6376" y="9305"/>
                  <a:pt x="6336" y="9602"/>
                </a:cubicBezTo>
                <a:close/>
                <a:moveTo>
                  <a:pt x="5856" y="5490"/>
                </a:moveTo>
                <a:cubicBezTo>
                  <a:pt x="5935" y="5490"/>
                  <a:pt x="5963" y="5689"/>
                  <a:pt x="5963" y="5944"/>
                </a:cubicBezTo>
                <a:cubicBezTo>
                  <a:pt x="5963" y="7146"/>
                  <a:pt x="5556" y="8686"/>
                  <a:pt x="5037" y="9810"/>
                </a:cubicBezTo>
                <a:cubicBezTo>
                  <a:pt x="5167" y="7947"/>
                  <a:pt x="5534" y="5472"/>
                  <a:pt x="5856" y="5490"/>
                </a:cubicBezTo>
                <a:close/>
                <a:moveTo>
                  <a:pt x="14619" y="12665"/>
                </a:moveTo>
                <a:cubicBezTo>
                  <a:pt x="14619" y="13518"/>
                  <a:pt x="14767" y="14043"/>
                  <a:pt x="15050" y="14014"/>
                </a:cubicBezTo>
                <a:cubicBezTo>
                  <a:pt x="15344" y="13993"/>
                  <a:pt x="15642" y="13359"/>
                  <a:pt x="15889" y="12489"/>
                </a:cubicBezTo>
                <a:cubicBezTo>
                  <a:pt x="15936" y="13410"/>
                  <a:pt x="16117" y="14077"/>
                  <a:pt x="16488" y="14028"/>
                </a:cubicBezTo>
                <a:cubicBezTo>
                  <a:pt x="16874" y="13977"/>
                  <a:pt x="17243" y="13095"/>
                  <a:pt x="17499" y="12073"/>
                </a:cubicBezTo>
                <a:lnTo>
                  <a:pt x="17499" y="12368"/>
                </a:lnTo>
                <a:cubicBezTo>
                  <a:pt x="17499" y="13315"/>
                  <a:pt x="17633" y="14021"/>
                  <a:pt x="17929" y="14021"/>
                </a:cubicBezTo>
                <a:cubicBezTo>
                  <a:pt x="18248" y="14021"/>
                  <a:pt x="18615" y="13146"/>
                  <a:pt x="18906" y="11641"/>
                </a:cubicBezTo>
                <a:lnTo>
                  <a:pt x="18914" y="11657"/>
                </a:lnTo>
                <a:cubicBezTo>
                  <a:pt x="18888" y="12014"/>
                  <a:pt x="18856" y="12620"/>
                  <a:pt x="18852" y="13025"/>
                </a:cubicBezTo>
                <a:cubicBezTo>
                  <a:pt x="18847" y="14159"/>
                  <a:pt x="19032" y="14816"/>
                  <a:pt x="19289" y="15003"/>
                </a:cubicBezTo>
                <a:lnTo>
                  <a:pt x="19352" y="14911"/>
                </a:lnTo>
                <a:cubicBezTo>
                  <a:pt x="19258" y="14087"/>
                  <a:pt x="19389" y="12036"/>
                  <a:pt x="19444" y="11353"/>
                </a:cubicBezTo>
                <a:cubicBezTo>
                  <a:pt x="19635" y="9107"/>
                  <a:pt x="19938" y="6540"/>
                  <a:pt x="20114" y="5205"/>
                </a:cubicBezTo>
                <a:cubicBezTo>
                  <a:pt x="20034" y="4955"/>
                  <a:pt x="19847" y="4786"/>
                  <a:pt x="19647" y="4753"/>
                </a:cubicBezTo>
                <a:cubicBezTo>
                  <a:pt x="18983" y="4665"/>
                  <a:pt x="18316" y="5664"/>
                  <a:pt x="17830" y="8808"/>
                </a:cubicBezTo>
                <a:cubicBezTo>
                  <a:pt x="17746" y="9356"/>
                  <a:pt x="17655" y="9985"/>
                  <a:pt x="17587" y="10651"/>
                </a:cubicBezTo>
                <a:cubicBezTo>
                  <a:pt x="17518" y="10987"/>
                  <a:pt x="17445" y="11287"/>
                  <a:pt x="17415" y="11395"/>
                </a:cubicBezTo>
                <a:cubicBezTo>
                  <a:pt x="17239" y="12014"/>
                  <a:pt x="16989" y="12807"/>
                  <a:pt x="16735" y="12819"/>
                </a:cubicBezTo>
                <a:cubicBezTo>
                  <a:pt x="16590" y="12829"/>
                  <a:pt x="16510" y="12458"/>
                  <a:pt x="16514" y="11799"/>
                </a:cubicBezTo>
                <a:cubicBezTo>
                  <a:pt x="16516" y="9284"/>
                  <a:pt x="17124" y="5464"/>
                  <a:pt x="17538" y="5454"/>
                </a:cubicBezTo>
                <a:cubicBezTo>
                  <a:pt x="17650" y="5454"/>
                  <a:pt x="17700" y="5635"/>
                  <a:pt x="17700" y="5987"/>
                </a:cubicBezTo>
                <a:cubicBezTo>
                  <a:pt x="17700" y="6406"/>
                  <a:pt x="17621" y="6981"/>
                  <a:pt x="17510" y="7352"/>
                </a:cubicBezTo>
                <a:lnTo>
                  <a:pt x="17558" y="7513"/>
                </a:lnTo>
                <a:cubicBezTo>
                  <a:pt x="17835" y="7124"/>
                  <a:pt x="18093" y="6420"/>
                  <a:pt x="18095" y="5671"/>
                </a:cubicBezTo>
                <a:cubicBezTo>
                  <a:pt x="18095" y="4817"/>
                  <a:pt x="17825" y="4658"/>
                  <a:pt x="17585" y="4665"/>
                </a:cubicBezTo>
                <a:cubicBezTo>
                  <a:pt x="17262" y="4681"/>
                  <a:pt x="16861" y="5257"/>
                  <a:pt x="16539" y="6540"/>
                </a:cubicBezTo>
                <a:cubicBezTo>
                  <a:pt x="16136" y="8149"/>
                  <a:pt x="15927" y="10079"/>
                  <a:pt x="15886" y="11456"/>
                </a:cubicBezTo>
                <a:cubicBezTo>
                  <a:pt x="15702" y="12240"/>
                  <a:pt x="15496" y="12775"/>
                  <a:pt x="15358" y="12781"/>
                </a:cubicBezTo>
                <a:cubicBezTo>
                  <a:pt x="15281" y="12792"/>
                  <a:pt x="15225" y="12639"/>
                  <a:pt x="15224" y="12343"/>
                </a:cubicBezTo>
                <a:cubicBezTo>
                  <a:pt x="15224" y="12081"/>
                  <a:pt x="15266" y="11546"/>
                  <a:pt x="15336" y="10851"/>
                </a:cubicBezTo>
                <a:cubicBezTo>
                  <a:pt x="15515" y="9231"/>
                  <a:pt x="15772" y="7212"/>
                  <a:pt x="16090" y="4811"/>
                </a:cubicBezTo>
                <a:cubicBezTo>
                  <a:pt x="16090" y="4811"/>
                  <a:pt x="15608" y="5106"/>
                  <a:pt x="15538" y="5178"/>
                </a:cubicBezTo>
                <a:cubicBezTo>
                  <a:pt x="15465" y="5246"/>
                  <a:pt x="15409" y="5421"/>
                  <a:pt x="15377" y="5663"/>
                </a:cubicBezTo>
                <a:cubicBezTo>
                  <a:pt x="15170" y="7261"/>
                  <a:pt x="14925" y="9107"/>
                  <a:pt x="14773" y="10483"/>
                </a:cubicBezTo>
                <a:cubicBezTo>
                  <a:pt x="14677" y="11351"/>
                  <a:pt x="14619" y="12173"/>
                  <a:pt x="14619" y="12665"/>
                </a:cubicBezTo>
                <a:close/>
                <a:moveTo>
                  <a:pt x="19138" y="5785"/>
                </a:moveTo>
                <a:cubicBezTo>
                  <a:pt x="19291" y="5520"/>
                  <a:pt x="19420" y="5503"/>
                  <a:pt x="19529" y="5583"/>
                </a:cubicBezTo>
                <a:cubicBezTo>
                  <a:pt x="19488" y="5895"/>
                  <a:pt x="19302" y="7261"/>
                  <a:pt x="19158" y="8490"/>
                </a:cubicBezTo>
                <a:cubicBezTo>
                  <a:pt x="18929" y="10417"/>
                  <a:pt x="18585" y="12362"/>
                  <a:pt x="18267" y="12639"/>
                </a:cubicBezTo>
                <a:cubicBezTo>
                  <a:pt x="18157" y="12754"/>
                  <a:pt x="18093" y="12583"/>
                  <a:pt x="18095" y="12183"/>
                </a:cubicBezTo>
                <a:cubicBezTo>
                  <a:pt x="18104" y="10478"/>
                  <a:pt x="18619" y="6672"/>
                  <a:pt x="19138" y="5785"/>
                </a:cubicBezTo>
                <a:close/>
                <a:moveTo>
                  <a:pt x="7191" y="11749"/>
                </a:moveTo>
                <a:cubicBezTo>
                  <a:pt x="7187" y="12996"/>
                  <a:pt x="7367" y="14037"/>
                  <a:pt x="7828" y="13977"/>
                </a:cubicBezTo>
                <a:cubicBezTo>
                  <a:pt x="8321" y="13929"/>
                  <a:pt x="8771" y="12887"/>
                  <a:pt x="9160" y="11395"/>
                </a:cubicBezTo>
                <a:cubicBezTo>
                  <a:pt x="9062" y="12352"/>
                  <a:pt x="8978" y="13174"/>
                  <a:pt x="8928" y="13618"/>
                </a:cubicBezTo>
                <a:cubicBezTo>
                  <a:pt x="8784" y="14935"/>
                  <a:pt x="8677" y="15997"/>
                  <a:pt x="8456" y="16614"/>
                </a:cubicBezTo>
                <a:lnTo>
                  <a:pt x="8480" y="16775"/>
                </a:lnTo>
                <a:cubicBezTo>
                  <a:pt x="9130" y="16912"/>
                  <a:pt x="9375" y="15243"/>
                  <a:pt x="9643" y="12520"/>
                </a:cubicBezTo>
                <a:cubicBezTo>
                  <a:pt x="9910" y="9793"/>
                  <a:pt x="10137" y="7425"/>
                  <a:pt x="10313" y="5780"/>
                </a:cubicBezTo>
                <a:cubicBezTo>
                  <a:pt x="10598" y="5780"/>
                  <a:pt x="11002" y="5817"/>
                  <a:pt x="11229" y="5631"/>
                </a:cubicBezTo>
                <a:cubicBezTo>
                  <a:pt x="10638" y="6588"/>
                  <a:pt x="10137" y="10023"/>
                  <a:pt x="10196" y="12286"/>
                </a:cubicBezTo>
                <a:cubicBezTo>
                  <a:pt x="10222" y="13286"/>
                  <a:pt x="10386" y="13978"/>
                  <a:pt x="10736" y="13978"/>
                </a:cubicBezTo>
                <a:cubicBezTo>
                  <a:pt x="11413" y="13978"/>
                  <a:pt x="11982" y="11053"/>
                  <a:pt x="12199" y="9126"/>
                </a:cubicBezTo>
                <a:cubicBezTo>
                  <a:pt x="12324" y="8020"/>
                  <a:pt x="12406" y="7075"/>
                  <a:pt x="12420" y="6128"/>
                </a:cubicBezTo>
                <a:cubicBezTo>
                  <a:pt x="12581" y="6026"/>
                  <a:pt x="12735" y="5923"/>
                  <a:pt x="12812" y="5883"/>
                </a:cubicBezTo>
                <a:cubicBezTo>
                  <a:pt x="12960" y="5808"/>
                  <a:pt x="12931" y="6407"/>
                  <a:pt x="12885" y="6856"/>
                </a:cubicBezTo>
                <a:cubicBezTo>
                  <a:pt x="12608" y="9678"/>
                  <a:pt x="12129" y="13774"/>
                  <a:pt x="12127" y="13838"/>
                </a:cubicBezTo>
                <a:lnTo>
                  <a:pt x="12656" y="13838"/>
                </a:lnTo>
                <a:cubicBezTo>
                  <a:pt x="12885" y="12098"/>
                  <a:pt x="13026" y="10986"/>
                  <a:pt x="13209" y="9799"/>
                </a:cubicBezTo>
                <a:cubicBezTo>
                  <a:pt x="13430" y="8408"/>
                  <a:pt x="13922" y="6112"/>
                  <a:pt x="14117" y="6108"/>
                </a:cubicBezTo>
                <a:cubicBezTo>
                  <a:pt x="14187" y="6108"/>
                  <a:pt x="14205" y="6267"/>
                  <a:pt x="14187" y="6515"/>
                </a:cubicBezTo>
                <a:cubicBezTo>
                  <a:pt x="14153" y="7460"/>
                  <a:pt x="13520" y="11075"/>
                  <a:pt x="13530" y="12861"/>
                </a:cubicBezTo>
                <a:cubicBezTo>
                  <a:pt x="13536" y="14028"/>
                  <a:pt x="13704" y="14735"/>
                  <a:pt x="13999" y="15000"/>
                </a:cubicBezTo>
                <a:lnTo>
                  <a:pt x="14060" y="14874"/>
                </a:lnTo>
                <a:cubicBezTo>
                  <a:pt x="14023" y="14619"/>
                  <a:pt x="14018" y="14302"/>
                  <a:pt x="14017" y="13929"/>
                </a:cubicBezTo>
                <a:cubicBezTo>
                  <a:pt x="14012" y="12738"/>
                  <a:pt x="14278" y="10651"/>
                  <a:pt x="14381" y="9842"/>
                </a:cubicBezTo>
                <a:cubicBezTo>
                  <a:pt x="14544" y="8570"/>
                  <a:pt x="14835" y="6713"/>
                  <a:pt x="14816" y="5696"/>
                </a:cubicBezTo>
                <a:cubicBezTo>
                  <a:pt x="14807" y="5197"/>
                  <a:pt x="14704" y="4753"/>
                  <a:pt x="14471" y="4747"/>
                </a:cubicBezTo>
                <a:cubicBezTo>
                  <a:pt x="14040" y="4739"/>
                  <a:pt x="13611" y="6267"/>
                  <a:pt x="13251" y="8318"/>
                </a:cubicBezTo>
                <a:lnTo>
                  <a:pt x="13241" y="8308"/>
                </a:lnTo>
                <a:cubicBezTo>
                  <a:pt x="13385" y="7116"/>
                  <a:pt x="13498" y="6010"/>
                  <a:pt x="13494" y="5471"/>
                </a:cubicBezTo>
                <a:cubicBezTo>
                  <a:pt x="13491" y="4978"/>
                  <a:pt x="13414" y="4785"/>
                  <a:pt x="13253" y="4785"/>
                </a:cubicBezTo>
                <a:cubicBezTo>
                  <a:pt x="13139" y="4797"/>
                  <a:pt x="12985" y="4954"/>
                  <a:pt x="12832" y="5105"/>
                </a:cubicBezTo>
                <a:cubicBezTo>
                  <a:pt x="12619" y="5306"/>
                  <a:pt x="12395" y="5518"/>
                  <a:pt x="12148" y="5706"/>
                </a:cubicBezTo>
                <a:cubicBezTo>
                  <a:pt x="11998" y="5780"/>
                  <a:pt x="11945" y="5882"/>
                  <a:pt x="11950" y="6080"/>
                </a:cubicBezTo>
                <a:cubicBezTo>
                  <a:pt x="11981" y="9212"/>
                  <a:pt x="11397" y="12892"/>
                  <a:pt x="11007" y="12905"/>
                </a:cubicBezTo>
                <a:cubicBezTo>
                  <a:pt x="10840" y="12905"/>
                  <a:pt x="10802" y="12459"/>
                  <a:pt x="10802" y="11843"/>
                </a:cubicBezTo>
                <a:cubicBezTo>
                  <a:pt x="10801" y="9677"/>
                  <a:pt x="11289" y="6041"/>
                  <a:pt x="11765" y="5463"/>
                </a:cubicBezTo>
                <a:cubicBezTo>
                  <a:pt x="11806" y="5421"/>
                  <a:pt x="11847" y="5389"/>
                  <a:pt x="11874" y="5357"/>
                </a:cubicBezTo>
                <a:lnTo>
                  <a:pt x="11935" y="4773"/>
                </a:lnTo>
                <a:cubicBezTo>
                  <a:pt x="11834" y="4850"/>
                  <a:pt x="11593" y="4863"/>
                  <a:pt x="11467" y="4875"/>
                </a:cubicBezTo>
                <a:lnTo>
                  <a:pt x="10421" y="4875"/>
                </a:lnTo>
                <a:cubicBezTo>
                  <a:pt x="10697" y="2471"/>
                  <a:pt x="11085" y="915"/>
                  <a:pt x="11653" y="823"/>
                </a:cubicBezTo>
                <a:cubicBezTo>
                  <a:pt x="12005" y="779"/>
                  <a:pt x="12243" y="1264"/>
                  <a:pt x="12264" y="2003"/>
                </a:cubicBezTo>
                <a:cubicBezTo>
                  <a:pt x="12278" y="2630"/>
                  <a:pt x="12231" y="3141"/>
                  <a:pt x="12093" y="3660"/>
                </a:cubicBezTo>
                <a:lnTo>
                  <a:pt x="12132" y="3802"/>
                </a:lnTo>
                <a:cubicBezTo>
                  <a:pt x="12443" y="3265"/>
                  <a:pt x="12658" y="2353"/>
                  <a:pt x="12659" y="1732"/>
                </a:cubicBezTo>
                <a:cubicBezTo>
                  <a:pt x="12663" y="767"/>
                  <a:pt x="12345" y="175"/>
                  <a:pt x="11837" y="193"/>
                </a:cubicBezTo>
                <a:cubicBezTo>
                  <a:pt x="11191" y="207"/>
                  <a:pt x="10396" y="739"/>
                  <a:pt x="9840" y="4943"/>
                </a:cubicBezTo>
                <a:cubicBezTo>
                  <a:pt x="9674" y="5036"/>
                  <a:pt x="9524" y="5265"/>
                  <a:pt x="9398" y="5758"/>
                </a:cubicBezTo>
                <a:lnTo>
                  <a:pt x="9421" y="5943"/>
                </a:lnTo>
                <a:cubicBezTo>
                  <a:pt x="9511" y="5825"/>
                  <a:pt x="9618" y="5807"/>
                  <a:pt x="9739" y="5807"/>
                </a:cubicBezTo>
                <a:cubicBezTo>
                  <a:pt x="9662" y="6494"/>
                  <a:pt x="9507" y="7990"/>
                  <a:pt x="9354" y="9529"/>
                </a:cubicBezTo>
                <a:cubicBezTo>
                  <a:pt x="8885" y="11784"/>
                  <a:pt x="8415" y="12859"/>
                  <a:pt x="8071" y="12859"/>
                </a:cubicBezTo>
                <a:cubicBezTo>
                  <a:pt x="7883" y="12880"/>
                  <a:pt x="7808" y="12503"/>
                  <a:pt x="7805" y="11842"/>
                </a:cubicBezTo>
                <a:cubicBezTo>
                  <a:pt x="7803" y="11427"/>
                  <a:pt x="7832" y="10850"/>
                  <a:pt x="7854" y="10549"/>
                </a:cubicBezTo>
                <a:cubicBezTo>
                  <a:pt x="8222" y="9873"/>
                  <a:pt x="8592" y="9114"/>
                  <a:pt x="8926" y="7862"/>
                </a:cubicBezTo>
                <a:cubicBezTo>
                  <a:pt x="9110" y="7136"/>
                  <a:pt x="9238" y="6406"/>
                  <a:pt x="9242" y="5654"/>
                </a:cubicBezTo>
                <a:cubicBezTo>
                  <a:pt x="9245" y="4943"/>
                  <a:pt x="9126" y="4582"/>
                  <a:pt x="8880" y="4568"/>
                </a:cubicBezTo>
                <a:cubicBezTo>
                  <a:pt x="8531" y="4553"/>
                  <a:pt x="8109" y="5428"/>
                  <a:pt x="7834" y="6494"/>
                </a:cubicBezTo>
                <a:cubicBezTo>
                  <a:pt x="7475" y="7927"/>
                  <a:pt x="7197" y="9950"/>
                  <a:pt x="7191" y="11749"/>
                </a:cubicBezTo>
                <a:close/>
                <a:moveTo>
                  <a:pt x="8720" y="5490"/>
                </a:moveTo>
                <a:cubicBezTo>
                  <a:pt x="8799" y="5490"/>
                  <a:pt x="8832" y="5689"/>
                  <a:pt x="8832" y="5944"/>
                </a:cubicBezTo>
                <a:cubicBezTo>
                  <a:pt x="8828" y="7146"/>
                  <a:pt x="8425" y="8686"/>
                  <a:pt x="7901" y="9810"/>
                </a:cubicBezTo>
                <a:cubicBezTo>
                  <a:pt x="8033" y="7947"/>
                  <a:pt x="8400" y="5472"/>
                  <a:pt x="8720" y="5490"/>
                </a:cubicBezTo>
                <a:close/>
                <a:moveTo>
                  <a:pt x="8720" y="5490"/>
                </a:moveTo>
              </a:path>
            </a:pathLst>
          </a:custGeom>
          <a:solidFill>
            <a:srgbClr val="00334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5" name="Title Placeholder 1"/>
          <p:cNvSpPr>
            <a:spLocks noGrp="1"/>
          </p:cNvSpPr>
          <p:nvPr>
            <p:ph type="title"/>
          </p:nvPr>
        </p:nvSpPr>
        <p:spPr>
          <a:xfrm flipH="1">
            <a:off x="-1" y="0"/>
            <a:ext cx="8417169" cy="836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lvl="0"/>
            <a:r>
              <a:rPr lang="en-GB" dirty="0" smtClean="0"/>
              <a:t>Titular de la </a:t>
            </a:r>
            <a:r>
              <a:rPr lang="en-GB" dirty="0" err="1" smtClean="0"/>
              <a:t>diapositiva</a:t>
            </a:r>
            <a:r>
              <a:rPr lang="en-GB" dirty="0" smtClean="0"/>
              <a:t> (24 </a:t>
            </a:r>
            <a:r>
              <a:rPr lang="en-GB" dirty="0" err="1" smtClean="0"/>
              <a:t>puntos</a:t>
            </a:r>
            <a:r>
              <a:rPr lang="en-GB" dirty="0" smtClean="0"/>
              <a:t> – 1 </a:t>
            </a:r>
            <a:r>
              <a:rPr lang="en-GB" dirty="0" err="1" smtClean="0"/>
              <a:t>línea</a:t>
            </a:r>
            <a:r>
              <a:rPr lang="en-GB" dirty="0" smtClean="0"/>
              <a:t>)</a:t>
            </a:r>
            <a:endParaRPr lang="en-US" sz="2400" dirty="0">
              <a:solidFill>
                <a:srgbClr val="072534"/>
              </a:solidFill>
              <a:latin typeface="Trebuchet MS" pitchFamily="34" charset="0"/>
              <a:ea typeface="ヒラギノ角ゴ Pro W3" charset="-128"/>
              <a:sym typeface="Trebuchet MS" pitchFamily="34" charset="0"/>
            </a:endParaRPr>
          </a:p>
        </p:txBody>
      </p:sp>
      <p:grpSp>
        <p:nvGrpSpPr>
          <p:cNvPr id="2" name="Grupo 1"/>
          <p:cNvGrpSpPr/>
          <p:nvPr userDrawn="1"/>
        </p:nvGrpSpPr>
        <p:grpSpPr>
          <a:xfrm>
            <a:off x="58864" y="6464175"/>
            <a:ext cx="2103461" cy="359735"/>
            <a:chOff x="58864" y="6464175"/>
            <a:chExt cx="2103461" cy="359735"/>
          </a:xfrm>
        </p:grpSpPr>
        <p:grpSp>
          <p:nvGrpSpPr>
            <p:cNvPr id="20" name="Group 4"/>
            <p:cNvGrpSpPr>
              <a:grpSpLocks/>
            </p:cNvGrpSpPr>
            <p:nvPr userDrawn="1"/>
          </p:nvGrpSpPr>
          <p:grpSpPr bwMode="auto">
            <a:xfrm>
              <a:off x="179512" y="6464175"/>
              <a:ext cx="888250" cy="136799"/>
              <a:chOff x="-14" y="12"/>
              <a:chExt cx="605" cy="99"/>
            </a:xfrm>
          </p:grpSpPr>
          <p:sp>
            <p:nvSpPr>
              <p:cNvPr id="21" name="AutoShape 2"/>
              <p:cNvSpPr>
                <a:spLocks/>
              </p:cNvSpPr>
              <p:nvPr/>
            </p:nvSpPr>
            <p:spPr bwMode="auto">
              <a:xfrm>
                <a:off x="-14" y="12"/>
                <a:ext cx="546" cy="96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w 21600"/>
                  <a:gd name="T13" fmla="*/ 0 h 21600"/>
                  <a:gd name="T14" fmla="*/ 0 w 21600"/>
                  <a:gd name="T15" fmla="*/ 0 h 21600"/>
                  <a:gd name="T16" fmla="*/ 0 w 21600"/>
                  <a:gd name="T17" fmla="*/ 0 h 21600"/>
                  <a:gd name="T18" fmla="*/ 0 w 21600"/>
                  <a:gd name="T19" fmla="*/ 0 h 21600"/>
                  <a:gd name="T20" fmla="*/ 0 w 21600"/>
                  <a:gd name="T21" fmla="*/ 0 h 21600"/>
                  <a:gd name="T22" fmla="*/ 0 w 21600"/>
                  <a:gd name="T23" fmla="*/ 0 h 21600"/>
                  <a:gd name="T24" fmla="*/ 0 w 21600"/>
                  <a:gd name="T25" fmla="*/ 0 h 21600"/>
                  <a:gd name="T26" fmla="*/ 0 w 21600"/>
                  <a:gd name="T27" fmla="*/ 0 h 21600"/>
                  <a:gd name="T28" fmla="*/ 0 w 21600"/>
                  <a:gd name="T29" fmla="*/ 0 h 21600"/>
                  <a:gd name="T30" fmla="*/ 0 w 21600"/>
                  <a:gd name="T31" fmla="*/ 0 h 21600"/>
                  <a:gd name="T32" fmla="*/ 0 w 21600"/>
                  <a:gd name="T33" fmla="*/ 0 h 21600"/>
                  <a:gd name="T34" fmla="*/ 0 w 21600"/>
                  <a:gd name="T35" fmla="*/ 0 h 21600"/>
                  <a:gd name="T36" fmla="*/ 0 w 21600"/>
                  <a:gd name="T37" fmla="*/ 0 h 21600"/>
                  <a:gd name="T38" fmla="*/ 0 w 21600"/>
                  <a:gd name="T39" fmla="*/ 0 h 21600"/>
                  <a:gd name="T40" fmla="*/ 0 w 21600"/>
                  <a:gd name="T41" fmla="*/ 0 h 21600"/>
                  <a:gd name="T42" fmla="*/ 0 w 21600"/>
                  <a:gd name="T43" fmla="*/ 0 h 21600"/>
                  <a:gd name="T44" fmla="*/ 0 w 21600"/>
                  <a:gd name="T45" fmla="*/ 0 h 21600"/>
                  <a:gd name="T46" fmla="*/ 0 w 21600"/>
                  <a:gd name="T47" fmla="*/ 0 h 21600"/>
                  <a:gd name="T48" fmla="*/ 0 w 21600"/>
                  <a:gd name="T49" fmla="*/ 0 h 21600"/>
                  <a:gd name="T50" fmla="*/ 0 w 21600"/>
                  <a:gd name="T51" fmla="*/ 0 h 21600"/>
                  <a:gd name="T52" fmla="*/ 0 w 21600"/>
                  <a:gd name="T53" fmla="*/ 0 h 21600"/>
                  <a:gd name="T54" fmla="*/ 0 w 21600"/>
                  <a:gd name="T55" fmla="*/ 0 h 21600"/>
                  <a:gd name="T56" fmla="*/ 0 w 21600"/>
                  <a:gd name="T57" fmla="*/ 0 h 21600"/>
                  <a:gd name="T58" fmla="*/ 0 w 21600"/>
                  <a:gd name="T59" fmla="*/ 0 h 21600"/>
                  <a:gd name="T60" fmla="*/ 0 w 21600"/>
                  <a:gd name="T61" fmla="*/ 0 h 21600"/>
                  <a:gd name="T62" fmla="*/ 0 w 21600"/>
                  <a:gd name="T63" fmla="*/ 0 h 21600"/>
                  <a:gd name="T64" fmla="*/ 0 w 21600"/>
                  <a:gd name="T65" fmla="*/ 0 h 21600"/>
                  <a:gd name="T66" fmla="*/ 0 w 21600"/>
                  <a:gd name="T67" fmla="*/ 0 h 21600"/>
                  <a:gd name="T68" fmla="*/ 0 w 21600"/>
                  <a:gd name="T69" fmla="*/ 0 h 21600"/>
                  <a:gd name="T70" fmla="*/ 0 w 21600"/>
                  <a:gd name="T71" fmla="*/ 0 h 21600"/>
                  <a:gd name="T72" fmla="*/ 0 w 21600"/>
                  <a:gd name="T73" fmla="*/ 0 h 21600"/>
                  <a:gd name="T74" fmla="*/ 0 w 21600"/>
                  <a:gd name="T75" fmla="*/ 0 h 21600"/>
                  <a:gd name="T76" fmla="*/ 0 w 21600"/>
                  <a:gd name="T77" fmla="*/ 0 h 21600"/>
                  <a:gd name="T78" fmla="*/ 0 w 21600"/>
                  <a:gd name="T79" fmla="*/ 0 h 21600"/>
                  <a:gd name="T80" fmla="*/ 0 w 21600"/>
                  <a:gd name="T81" fmla="*/ 0 h 21600"/>
                  <a:gd name="T82" fmla="*/ 0 w 21600"/>
                  <a:gd name="T83" fmla="*/ 0 h 21600"/>
                  <a:gd name="T84" fmla="*/ 0 w 21600"/>
                  <a:gd name="T85" fmla="*/ 0 h 21600"/>
                  <a:gd name="T86" fmla="*/ 0 w 21600"/>
                  <a:gd name="T87" fmla="*/ 0 h 21600"/>
                  <a:gd name="T88" fmla="*/ 0 w 21600"/>
                  <a:gd name="T89" fmla="*/ 0 h 21600"/>
                  <a:gd name="T90" fmla="*/ 0 w 21600"/>
                  <a:gd name="T91" fmla="*/ 0 h 21600"/>
                  <a:gd name="T92" fmla="*/ 0 w 21600"/>
                  <a:gd name="T93" fmla="*/ 0 h 21600"/>
                  <a:gd name="T94" fmla="*/ 0 w 21600"/>
                  <a:gd name="T95" fmla="*/ 0 h 21600"/>
                  <a:gd name="T96" fmla="*/ 0 w 21600"/>
                  <a:gd name="T97" fmla="*/ 0 h 21600"/>
                  <a:gd name="T98" fmla="*/ 0 w 21600"/>
                  <a:gd name="T99" fmla="*/ 0 h 21600"/>
                  <a:gd name="T100" fmla="*/ 0 w 21600"/>
                  <a:gd name="T101" fmla="*/ 0 h 21600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21600" h="21600">
                    <a:moveTo>
                      <a:pt x="2236" y="9904"/>
                    </a:moveTo>
                    <a:cubicBezTo>
                      <a:pt x="2490" y="10359"/>
                      <a:pt x="2636" y="10997"/>
                      <a:pt x="2734" y="11787"/>
                    </a:cubicBezTo>
                    <a:cubicBezTo>
                      <a:pt x="2833" y="12577"/>
                      <a:pt x="2864" y="13428"/>
                      <a:pt x="2864" y="14460"/>
                    </a:cubicBezTo>
                    <a:cubicBezTo>
                      <a:pt x="2864" y="16952"/>
                      <a:pt x="2688" y="18501"/>
                      <a:pt x="2444" y="19473"/>
                    </a:cubicBezTo>
                    <a:cubicBezTo>
                      <a:pt x="2174" y="20567"/>
                      <a:pt x="1764" y="21175"/>
                      <a:pt x="1105" y="21175"/>
                    </a:cubicBezTo>
                    <a:lnTo>
                      <a:pt x="0" y="21175"/>
                    </a:lnTo>
                    <a:lnTo>
                      <a:pt x="623" y="395"/>
                    </a:lnTo>
                    <a:lnTo>
                      <a:pt x="1717" y="395"/>
                    </a:lnTo>
                    <a:cubicBezTo>
                      <a:pt x="2226" y="395"/>
                      <a:pt x="2480" y="942"/>
                      <a:pt x="2636" y="1671"/>
                    </a:cubicBezTo>
                    <a:cubicBezTo>
                      <a:pt x="2823" y="2552"/>
                      <a:pt x="2885" y="3797"/>
                      <a:pt x="2885" y="4982"/>
                    </a:cubicBezTo>
                    <a:cubicBezTo>
                      <a:pt x="2885" y="7017"/>
                      <a:pt x="2703" y="8871"/>
                      <a:pt x="2236" y="9904"/>
                    </a:cubicBezTo>
                    <a:close/>
                    <a:moveTo>
                      <a:pt x="908" y="17742"/>
                    </a:moveTo>
                    <a:lnTo>
                      <a:pt x="1188" y="17742"/>
                    </a:lnTo>
                    <a:cubicBezTo>
                      <a:pt x="1484" y="17742"/>
                      <a:pt x="1645" y="17529"/>
                      <a:pt x="1775" y="17134"/>
                    </a:cubicBezTo>
                    <a:cubicBezTo>
                      <a:pt x="1920" y="16679"/>
                      <a:pt x="2039" y="15919"/>
                      <a:pt x="2039" y="14643"/>
                    </a:cubicBezTo>
                    <a:cubicBezTo>
                      <a:pt x="2039" y="13792"/>
                      <a:pt x="1987" y="13155"/>
                      <a:pt x="1899" y="12760"/>
                    </a:cubicBezTo>
                    <a:cubicBezTo>
                      <a:pt x="1800" y="12304"/>
                      <a:pt x="1650" y="12091"/>
                      <a:pt x="1437" y="12091"/>
                    </a:cubicBezTo>
                    <a:lnTo>
                      <a:pt x="1079" y="12091"/>
                    </a:lnTo>
                    <a:lnTo>
                      <a:pt x="908" y="17742"/>
                    </a:lnTo>
                    <a:close/>
                    <a:moveTo>
                      <a:pt x="1183" y="8658"/>
                    </a:moveTo>
                    <a:lnTo>
                      <a:pt x="1365" y="8658"/>
                    </a:lnTo>
                    <a:cubicBezTo>
                      <a:pt x="1645" y="8658"/>
                      <a:pt x="1800" y="8324"/>
                      <a:pt x="1909" y="7838"/>
                    </a:cubicBezTo>
                    <a:cubicBezTo>
                      <a:pt x="2018" y="7352"/>
                      <a:pt x="2081" y="6623"/>
                      <a:pt x="2081" y="5742"/>
                    </a:cubicBezTo>
                    <a:cubicBezTo>
                      <a:pt x="2081" y="5134"/>
                      <a:pt x="2055" y="4739"/>
                      <a:pt x="1998" y="4405"/>
                    </a:cubicBezTo>
                    <a:cubicBezTo>
                      <a:pt x="1935" y="4071"/>
                      <a:pt x="1831" y="3828"/>
                      <a:pt x="1603" y="3828"/>
                    </a:cubicBezTo>
                    <a:lnTo>
                      <a:pt x="1328" y="3828"/>
                    </a:lnTo>
                    <a:lnTo>
                      <a:pt x="1183" y="8658"/>
                    </a:lnTo>
                    <a:close/>
                    <a:moveTo>
                      <a:pt x="4140" y="17742"/>
                    </a:moveTo>
                    <a:lnTo>
                      <a:pt x="5749" y="17742"/>
                    </a:lnTo>
                    <a:lnTo>
                      <a:pt x="5650" y="21175"/>
                    </a:lnTo>
                    <a:lnTo>
                      <a:pt x="3227" y="21175"/>
                    </a:lnTo>
                    <a:lnTo>
                      <a:pt x="3850" y="395"/>
                    </a:lnTo>
                    <a:lnTo>
                      <a:pt x="6247" y="395"/>
                    </a:lnTo>
                    <a:lnTo>
                      <a:pt x="6081" y="3828"/>
                    </a:lnTo>
                    <a:lnTo>
                      <a:pt x="4556" y="3828"/>
                    </a:lnTo>
                    <a:lnTo>
                      <a:pt x="4405" y="8871"/>
                    </a:lnTo>
                    <a:lnTo>
                      <a:pt x="5624" y="8871"/>
                    </a:lnTo>
                    <a:lnTo>
                      <a:pt x="5515" y="12425"/>
                    </a:lnTo>
                    <a:lnTo>
                      <a:pt x="4296" y="12425"/>
                    </a:lnTo>
                    <a:lnTo>
                      <a:pt x="4140" y="17742"/>
                    </a:lnTo>
                    <a:close/>
                    <a:moveTo>
                      <a:pt x="8540" y="395"/>
                    </a:moveTo>
                    <a:lnTo>
                      <a:pt x="9298" y="11878"/>
                    </a:lnTo>
                    <a:lnTo>
                      <a:pt x="10792" y="395"/>
                    </a:lnTo>
                    <a:lnTo>
                      <a:pt x="11456" y="395"/>
                    </a:lnTo>
                    <a:lnTo>
                      <a:pt x="10834" y="21175"/>
                    </a:lnTo>
                    <a:lnTo>
                      <a:pt x="10092" y="21175"/>
                    </a:lnTo>
                    <a:lnTo>
                      <a:pt x="10450" y="9053"/>
                    </a:lnTo>
                    <a:lnTo>
                      <a:pt x="9495" y="16436"/>
                    </a:lnTo>
                    <a:lnTo>
                      <a:pt x="8872" y="16436"/>
                    </a:lnTo>
                    <a:lnTo>
                      <a:pt x="8354" y="8658"/>
                    </a:lnTo>
                    <a:lnTo>
                      <a:pt x="7975" y="21175"/>
                    </a:lnTo>
                    <a:lnTo>
                      <a:pt x="7295" y="21175"/>
                    </a:lnTo>
                    <a:lnTo>
                      <a:pt x="7918" y="395"/>
                    </a:lnTo>
                    <a:lnTo>
                      <a:pt x="8540" y="395"/>
                    </a:lnTo>
                    <a:close/>
                    <a:moveTo>
                      <a:pt x="11685" y="13640"/>
                    </a:moveTo>
                    <a:cubicBezTo>
                      <a:pt x="11685" y="10451"/>
                      <a:pt x="11820" y="7321"/>
                      <a:pt x="12058" y="4921"/>
                    </a:cubicBezTo>
                    <a:cubicBezTo>
                      <a:pt x="12380" y="1701"/>
                      <a:pt x="12893" y="0"/>
                      <a:pt x="13610" y="0"/>
                    </a:cubicBezTo>
                    <a:cubicBezTo>
                      <a:pt x="14429" y="0"/>
                      <a:pt x="14990" y="2521"/>
                      <a:pt x="14990" y="7959"/>
                    </a:cubicBezTo>
                    <a:cubicBezTo>
                      <a:pt x="14990" y="11149"/>
                      <a:pt x="14855" y="14278"/>
                      <a:pt x="14616" y="16678"/>
                    </a:cubicBezTo>
                    <a:cubicBezTo>
                      <a:pt x="14295" y="19899"/>
                      <a:pt x="13781" y="21600"/>
                      <a:pt x="13065" y="21600"/>
                    </a:cubicBezTo>
                    <a:cubicBezTo>
                      <a:pt x="12245" y="21600"/>
                      <a:pt x="11685" y="19078"/>
                      <a:pt x="11685" y="13640"/>
                    </a:cubicBezTo>
                    <a:close/>
                    <a:moveTo>
                      <a:pt x="12790" y="6775"/>
                    </a:moveTo>
                    <a:cubicBezTo>
                      <a:pt x="12619" y="8688"/>
                      <a:pt x="12520" y="11180"/>
                      <a:pt x="12520" y="13640"/>
                    </a:cubicBezTo>
                    <a:cubicBezTo>
                      <a:pt x="12520" y="16770"/>
                      <a:pt x="12764" y="17894"/>
                      <a:pt x="13127" y="17894"/>
                    </a:cubicBezTo>
                    <a:cubicBezTo>
                      <a:pt x="13469" y="17894"/>
                      <a:pt x="13713" y="16709"/>
                      <a:pt x="13885" y="14825"/>
                    </a:cubicBezTo>
                    <a:cubicBezTo>
                      <a:pt x="14056" y="12912"/>
                      <a:pt x="14154" y="10420"/>
                      <a:pt x="14154" y="7960"/>
                    </a:cubicBezTo>
                    <a:cubicBezTo>
                      <a:pt x="14154" y="4830"/>
                      <a:pt x="13911" y="3706"/>
                      <a:pt x="13547" y="3706"/>
                    </a:cubicBezTo>
                    <a:cubicBezTo>
                      <a:pt x="13205" y="3706"/>
                      <a:pt x="12961" y="4891"/>
                      <a:pt x="12790" y="6775"/>
                    </a:cubicBezTo>
                    <a:close/>
                    <a:moveTo>
                      <a:pt x="18098" y="10177"/>
                    </a:moveTo>
                    <a:cubicBezTo>
                      <a:pt x="17963" y="11271"/>
                      <a:pt x="17745" y="12182"/>
                      <a:pt x="17459" y="12851"/>
                    </a:cubicBezTo>
                    <a:lnTo>
                      <a:pt x="18009" y="21175"/>
                    </a:lnTo>
                    <a:lnTo>
                      <a:pt x="17143" y="21175"/>
                    </a:lnTo>
                    <a:lnTo>
                      <a:pt x="16728" y="13641"/>
                    </a:lnTo>
                    <a:lnTo>
                      <a:pt x="16251" y="13641"/>
                    </a:lnTo>
                    <a:lnTo>
                      <a:pt x="16027" y="21175"/>
                    </a:lnTo>
                    <a:lnTo>
                      <a:pt x="15218" y="21175"/>
                    </a:lnTo>
                    <a:lnTo>
                      <a:pt x="15841" y="395"/>
                    </a:lnTo>
                    <a:lnTo>
                      <a:pt x="17050" y="395"/>
                    </a:lnTo>
                    <a:cubicBezTo>
                      <a:pt x="17491" y="395"/>
                      <a:pt x="17797" y="942"/>
                      <a:pt x="17989" y="1914"/>
                    </a:cubicBezTo>
                    <a:cubicBezTo>
                      <a:pt x="18202" y="2977"/>
                      <a:pt x="18290" y="4526"/>
                      <a:pt x="18290" y="6319"/>
                    </a:cubicBezTo>
                    <a:cubicBezTo>
                      <a:pt x="18290" y="7807"/>
                      <a:pt x="18227" y="9114"/>
                      <a:pt x="18098" y="10177"/>
                    </a:cubicBezTo>
                    <a:close/>
                    <a:moveTo>
                      <a:pt x="16354" y="10208"/>
                    </a:moveTo>
                    <a:lnTo>
                      <a:pt x="16666" y="10208"/>
                    </a:lnTo>
                    <a:cubicBezTo>
                      <a:pt x="16915" y="10208"/>
                      <a:pt x="17138" y="9934"/>
                      <a:pt x="17288" y="9114"/>
                    </a:cubicBezTo>
                    <a:cubicBezTo>
                      <a:pt x="17408" y="8476"/>
                      <a:pt x="17486" y="7443"/>
                      <a:pt x="17486" y="6349"/>
                    </a:cubicBezTo>
                    <a:cubicBezTo>
                      <a:pt x="17486" y="5651"/>
                      <a:pt x="17454" y="5012"/>
                      <a:pt x="17382" y="4587"/>
                    </a:cubicBezTo>
                    <a:cubicBezTo>
                      <a:pt x="17299" y="4101"/>
                      <a:pt x="17169" y="3828"/>
                      <a:pt x="16951" y="3828"/>
                    </a:cubicBezTo>
                    <a:lnTo>
                      <a:pt x="16546" y="3828"/>
                    </a:lnTo>
                    <a:lnTo>
                      <a:pt x="16354" y="10208"/>
                    </a:lnTo>
                    <a:close/>
                    <a:moveTo>
                      <a:pt x="19493" y="17742"/>
                    </a:moveTo>
                    <a:lnTo>
                      <a:pt x="21102" y="17742"/>
                    </a:lnTo>
                    <a:lnTo>
                      <a:pt x="21003" y="21175"/>
                    </a:lnTo>
                    <a:lnTo>
                      <a:pt x="18580" y="21175"/>
                    </a:lnTo>
                    <a:lnTo>
                      <a:pt x="19203" y="395"/>
                    </a:lnTo>
                    <a:lnTo>
                      <a:pt x="21600" y="395"/>
                    </a:lnTo>
                    <a:lnTo>
                      <a:pt x="21434" y="3828"/>
                    </a:lnTo>
                    <a:lnTo>
                      <a:pt x="19909" y="3828"/>
                    </a:lnTo>
                    <a:lnTo>
                      <a:pt x="19758" y="8871"/>
                    </a:lnTo>
                    <a:lnTo>
                      <a:pt x="20977" y="8871"/>
                    </a:lnTo>
                    <a:lnTo>
                      <a:pt x="20868" y="12425"/>
                    </a:lnTo>
                    <a:lnTo>
                      <a:pt x="19649" y="12425"/>
                    </a:lnTo>
                    <a:lnTo>
                      <a:pt x="19493" y="17742"/>
                    </a:lnTo>
                    <a:close/>
                    <a:moveTo>
                      <a:pt x="19493" y="17742"/>
                    </a:move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 cap="flat">
                    <a:solidFill>
                      <a:srgbClr val="000000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en-GB"/>
              </a:p>
            </p:txBody>
          </p:sp>
          <p:sp>
            <p:nvSpPr>
              <p:cNvPr id="22" name="AutoShape 3"/>
              <p:cNvSpPr>
                <a:spLocks/>
              </p:cNvSpPr>
              <p:nvPr/>
            </p:nvSpPr>
            <p:spPr bwMode="auto">
              <a:xfrm>
                <a:off x="533" y="98"/>
                <a:ext cx="58" cy="13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1600" h="21600">
                    <a:moveTo>
                      <a:pt x="0" y="21600"/>
                    </a:moveTo>
                    <a:lnTo>
                      <a:pt x="870" y="0"/>
                    </a:lnTo>
                    <a:lnTo>
                      <a:pt x="21600" y="0"/>
                    </a:lnTo>
                    <a:lnTo>
                      <a:pt x="20730" y="21600"/>
                    </a:lnTo>
                    <a:lnTo>
                      <a:pt x="0" y="21600"/>
                    </a:lnTo>
                    <a:close/>
                    <a:moveTo>
                      <a:pt x="0" y="21600"/>
                    </a:moveTo>
                  </a:path>
                </a:pathLst>
              </a:custGeom>
              <a:solidFill>
                <a:srgbClr val="7DF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 cap="flat">
                    <a:solidFill>
                      <a:srgbClr val="000000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en-GB"/>
              </a:p>
            </p:txBody>
          </p:sp>
        </p:grpSp>
        <p:sp>
          <p:nvSpPr>
            <p:cNvPr id="23" name="22 CuadroTexto"/>
            <p:cNvSpPr txBox="1"/>
            <p:nvPr userDrawn="1"/>
          </p:nvSpPr>
          <p:spPr>
            <a:xfrm>
              <a:off x="58864" y="6577689"/>
              <a:ext cx="2103461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b="0" i="1" noProof="0" dirty="0" smtClean="0">
                  <a:solidFill>
                    <a:schemeClr val="accent5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SCOVER</a:t>
              </a:r>
              <a:r>
                <a:rPr lang="en-US" sz="1000" b="0" i="1" dirty="0" smtClean="0">
                  <a:solidFill>
                    <a:schemeClr val="accent5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DISRUPT, DELIVER</a:t>
              </a:r>
              <a:endParaRPr lang="en-US" sz="1000" b="0" i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67806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820" r:id="rId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marL="174625" indent="0" algn="l" rtl="0" eaLnBrk="0" fontAlgn="base" hangingPunct="0">
        <a:spcBef>
          <a:spcPct val="0"/>
        </a:spcBef>
        <a:spcAft>
          <a:spcPct val="0"/>
        </a:spcAft>
        <a:defRPr lang="en-US" sz="2400" kern="1200" dirty="0">
          <a:solidFill>
            <a:schemeClr val="tx1"/>
          </a:solidFill>
          <a:latin typeface="Trebuchet MS" pitchFamily="34" charset="0"/>
          <a:ea typeface="ヒラギノ角ゴ Pro W3" charset="-128"/>
          <a:cs typeface="+mn-cs"/>
          <a:sym typeface="Trebuchet MS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122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122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122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122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342900" indent="-342900" algn="ctr" rtl="0" eaLnBrk="0" fontAlgn="base" hangingPunct="0">
        <a:spcBef>
          <a:spcPct val="0"/>
        </a:spcBef>
        <a:spcAft>
          <a:spcPct val="0"/>
        </a:spcAft>
        <a:defRPr sz="18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1pPr>
      <a:lvl2pPr marL="742950" indent="-28575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2pPr>
      <a:lvl3pPr marL="1143000" indent="-2286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3pPr>
      <a:lvl4pPr marL="1600200" indent="-2286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4pPr>
      <a:lvl5pPr marL="2057400" indent="-2286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AutoShape 5"/>
          <p:cNvSpPr>
            <a:spLocks/>
          </p:cNvSpPr>
          <p:nvPr/>
        </p:nvSpPr>
        <p:spPr bwMode="auto">
          <a:xfrm>
            <a:off x="8028844" y="6502400"/>
            <a:ext cx="830873" cy="249238"/>
          </a:xfrm>
          <a:custGeom>
            <a:avLst/>
            <a:gdLst>
              <a:gd name="T0" fmla="*/ 0 w 21600"/>
              <a:gd name="T1" fmla="*/ 892206852 h 21600"/>
              <a:gd name="T2" fmla="*/ 2147483647 w 21600"/>
              <a:gd name="T3" fmla="*/ 141473318 h 21600"/>
              <a:gd name="T4" fmla="*/ 2147483647 w 21600"/>
              <a:gd name="T5" fmla="*/ 96575026 h 21600"/>
              <a:gd name="T6" fmla="*/ 2147483647 w 21600"/>
              <a:gd name="T7" fmla="*/ 275193756 h 21600"/>
              <a:gd name="T8" fmla="*/ 2147483647 w 21600"/>
              <a:gd name="T9" fmla="*/ 59300706 h 21600"/>
              <a:gd name="T10" fmla="*/ 2147483647 w 21600"/>
              <a:gd name="T11" fmla="*/ 702363606 h 21600"/>
              <a:gd name="T12" fmla="*/ 2147483647 w 21600"/>
              <a:gd name="T13" fmla="*/ 341566847 h 21600"/>
              <a:gd name="T14" fmla="*/ 2147483647 w 21600"/>
              <a:gd name="T15" fmla="*/ 6989884 h 21600"/>
              <a:gd name="T16" fmla="*/ 2147483647 w 21600"/>
              <a:gd name="T17" fmla="*/ 12835521 h 21600"/>
              <a:gd name="T18" fmla="*/ 2147483647 w 21600"/>
              <a:gd name="T19" fmla="*/ 406713202 h 21600"/>
              <a:gd name="T20" fmla="*/ 2147483647 w 21600"/>
              <a:gd name="T21" fmla="*/ 446866336 h 21600"/>
              <a:gd name="T22" fmla="*/ 2147483647 w 21600"/>
              <a:gd name="T23" fmla="*/ 193528986 h 21600"/>
              <a:gd name="T24" fmla="*/ 2147483647 w 21600"/>
              <a:gd name="T25" fmla="*/ 592022721 h 21600"/>
              <a:gd name="T26" fmla="*/ 2147483647 w 21600"/>
              <a:gd name="T27" fmla="*/ 635735349 h 21600"/>
              <a:gd name="T28" fmla="*/ 2147483647 w 21600"/>
              <a:gd name="T29" fmla="*/ 421156883 h 21600"/>
              <a:gd name="T30" fmla="*/ 2147483647 w 21600"/>
              <a:gd name="T31" fmla="*/ 88484663 h 21600"/>
              <a:gd name="T32" fmla="*/ 2147483647 w 21600"/>
              <a:gd name="T33" fmla="*/ 232540374 h 21600"/>
              <a:gd name="T34" fmla="*/ 2147483647 w 21600"/>
              <a:gd name="T35" fmla="*/ 232540374 h 21600"/>
              <a:gd name="T36" fmla="*/ 2147483647 w 21600"/>
              <a:gd name="T37" fmla="*/ 528997692 h 21600"/>
              <a:gd name="T38" fmla="*/ 2147483647 w 21600"/>
              <a:gd name="T39" fmla="*/ 523871306 h 21600"/>
              <a:gd name="T40" fmla="*/ 2147483647 w 21600"/>
              <a:gd name="T41" fmla="*/ 493754362 h 21600"/>
              <a:gd name="T42" fmla="*/ 2147483647 w 21600"/>
              <a:gd name="T43" fmla="*/ 631585869 h 21600"/>
              <a:gd name="T44" fmla="*/ 2147483647 w 21600"/>
              <a:gd name="T45" fmla="*/ 201322939 h 21600"/>
              <a:gd name="T46" fmla="*/ 2147483647 w 21600"/>
              <a:gd name="T47" fmla="*/ 482658754 h 21600"/>
              <a:gd name="T48" fmla="*/ 2147483647 w 21600"/>
              <a:gd name="T49" fmla="*/ 231014554 h 21600"/>
              <a:gd name="T50" fmla="*/ 2147483647 w 21600"/>
              <a:gd name="T51" fmla="*/ 318228550 h 21600"/>
              <a:gd name="T52" fmla="*/ 2147483647 w 21600"/>
              <a:gd name="T53" fmla="*/ 277015998 h 21600"/>
              <a:gd name="T54" fmla="*/ 2147483647 w 21600"/>
              <a:gd name="T55" fmla="*/ 522811888 h 21600"/>
              <a:gd name="T56" fmla="*/ 2147483647 w 21600"/>
              <a:gd name="T57" fmla="*/ 219323441 h 21600"/>
              <a:gd name="T58" fmla="*/ 2147483647 w 21600"/>
              <a:gd name="T59" fmla="*/ 536451489 h 21600"/>
              <a:gd name="T60" fmla="*/ 2147483647 w 21600"/>
              <a:gd name="T61" fmla="*/ 359611267 h 21600"/>
              <a:gd name="T62" fmla="*/ 2147483647 w 21600"/>
              <a:gd name="T63" fmla="*/ 245035739 h 21600"/>
              <a:gd name="T64" fmla="*/ 2147483647 w 21600"/>
              <a:gd name="T65" fmla="*/ 482658754 h 21600"/>
              <a:gd name="T66" fmla="*/ 2147483647 w 21600"/>
              <a:gd name="T67" fmla="*/ 710539155 h 21600"/>
              <a:gd name="T68" fmla="*/ 2147483647 w 21600"/>
              <a:gd name="T69" fmla="*/ 238512269 h 21600"/>
              <a:gd name="T70" fmla="*/ 2147483647 w 21600"/>
              <a:gd name="T71" fmla="*/ 386550130 h 21600"/>
              <a:gd name="T72" fmla="*/ 2147483647 w 21600"/>
              <a:gd name="T73" fmla="*/ 290400434 h 21600"/>
              <a:gd name="T74" fmla="*/ 2147483647 w 21600"/>
              <a:gd name="T75" fmla="*/ 415056069 h 21600"/>
              <a:gd name="T76" fmla="*/ 2147483647 w 21600"/>
              <a:gd name="T77" fmla="*/ 544753284 h 21600"/>
              <a:gd name="T78" fmla="*/ 2147483647 w 21600"/>
              <a:gd name="T79" fmla="*/ 589991905 h 21600"/>
              <a:gd name="T80" fmla="*/ 2147483647 w 21600"/>
              <a:gd name="T81" fmla="*/ 201067773 h 21600"/>
              <a:gd name="T82" fmla="*/ 2147483647 w 21600"/>
              <a:gd name="T83" fmla="*/ 231736294 h 21600"/>
              <a:gd name="T84" fmla="*/ 2147483647 w 21600"/>
              <a:gd name="T85" fmla="*/ 241690339 h 21600"/>
              <a:gd name="T86" fmla="*/ 2147483647 w 21600"/>
              <a:gd name="T87" fmla="*/ 501633500 h 21600"/>
              <a:gd name="T88" fmla="*/ 2147483647 w 21600"/>
              <a:gd name="T89" fmla="*/ 202171109 h 21600"/>
              <a:gd name="T90" fmla="*/ 2147483647 w 21600"/>
              <a:gd name="T91" fmla="*/ 34859246 h 21600"/>
              <a:gd name="T92" fmla="*/ 2147483647 w 21600"/>
              <a:gd name="T93" fmla="*/ 161040897 h 21600"/>
              <a:gd name="T94" fmla="*/ 2147483647 w 21600"/>
              <a:gd name="T95" fmla="*/ 209369568 h 21600"/>
              <a:gd name="T96" fmla="*/ 2147483647 w 21600"/>
              <a:gd name="T97" fmla="*/ 245966066 h 21600"/>
              <a:gd name="T98" fmla="*/ 2147483647 w 21600"/>
              <a:gd name="T99" fmla="*/ 501592243 h 21600"/>
              <a:gd name="T100" fmla="*/ 2147483647 w 21600"/>
              <a:gd name="T101" fmla="*/ 239486513 h 21600"/>
              <a:gd name="T102" fmla="*/ 2147483647 w 21600"/>
              <a:gd name="T103" fmla="*/ 497651349 h 21600"/>
              <a:gd name="T104" fmla="*/ 2147483647 w 21600"/>
              <a:gd name="T105" fmla="*/ 415522655 h 2160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1600" h="21600">
                <a:moveTo>
                  <a:pt x="21600" y="21064"/>
                </a:moveTo>
                <a:cubicBezTo>
                  <a:pt x="21600" y="20776"/>
                  <a:pt x="16158" y="20540"/>
                  <a:pt x="10801" y="20540"/>
                </a:cubicBezTo>
                <a:cubicBezTo>
                  <a:pt x="5443" y="20540"/>
                  <a:pt x="0" y="20776"/>
                  <a:pt x="0" y="21064"/>
                </a:cubicBezTo>
                <a:cubicBezTo>
                  <a:pt x="0" y="21350"/>
                  <a:pt x="5443" y="21600"/>
                  <a:pt x="10801" y="21600"/>
                </a:cubicBezTo>
                <a:cubicBezTo>
                  <a:pt x="16158" y="21599"/>
                  <a:pt x="21600" y="21350"/>
                  <a:pt x="21600" y="21064"/>
                </a:cubicBezTo>
                <a:close/>
                <a:moveTo>
                  <a:pt x="16099" y="3340"/>
                </a:moveTo>
                <a:cubicBezTo>
                  <a:pt x="16246" y="3334"/>
                  <a:pt x="16394" y="2835"/>
                  <a:pt x="16425" y="2245"/>
                </a:cubicBezTo>
                <a:cubicBezTo>
                  <a:pt x="16461" y="1634"/>
                  <a:pt x="16365" y="1165"/>
                  <a:pt x="16216" y="1179"/>
                </a:cubicBezTo>
                <a:cubicBezTo>
                  <a:pt x="16070" y="1180"/>
                  <a:pt x="15924" y="1670"/>
                  <a:pt x="15889" y="2280"/>
                </a:cubicBezTo>
                <a:cubicBezTo>
                  <a:pt x="15858" y="2875"/>
                  <a:pt x="15949" y="3352"/>
                  <a:pt x="16099" y="3340"/>
                </a:cubicBezTo>
                <a:close/>
                <a:moveTo>
                  <a:pt x="2148" y="6604"/>
                </a:moveTo>
                <a:lnTo>
                  <a:pt x="2183" y="6497"/>
                </a:lnTo>
                <a:cubicBezTo>
                  <a:pt x="2134" y="6207"/>
                  <a:pt x="2116" y="5697"/>
                  <a:pt x="2119" y="5390"/>
                </a:cubicBezTo>
                <a:cubicBezTo>
                  <a:pt x="2136" y="2842"/>
                  <a:pt x="2874" y="1400"/>
                  <a:pt x="4024" y="1400"/>
                </a:cubicBezTo>
                <a:lnTo>
                  <a:pt x="4661" y="1400"/>
                </a:lnTo>
                <a:cubicBezTo>
                  <a:pt x="4291" y="2185"/>
                  <a:pt x="3981" y="3230"/>
                  <a:pt x="3743" y="5197"/>
                </a:cubicBezTo>
                <a:cubicBezTo>
                  <a:pt x="3640" y="6043"/>
                  <a:pt x="3153" y="10591"/>
                  <a:pt x="2954" y="12638"/>
                </a:cubicBezTo>
                <a:cubicBezTo>
                  <a:pt x="2706" y="15072"/>
                  <a:pt x="2548" y="16177"/>
                  <a:pt x="2352" y="16582"/>
                </a:cubicBezTo>
                <a:lnTo>
                  <a:pt x="2385" y="16802"/>
                </a:lnTo>
                <a:cubicBezTo>
                  <a:pt x="2937" y="16925"/>
                  <a:pt x="3266" y="15896"/>
                  <a:pt x="3478" y="13994"/>
                </a:cubicBezTo>
                <a:cubicBezTo>
                  <a:pt x="3680" y="12197"/>
                  <a:pt x="3947" y="9336"/>
                  <a:pt x="4078" y="8064"/>
                </a:cubicBezTo>
                <a:cubicBezTo>
                  <a:pt x="4502" y="3971"/>
                  <a:pt x="4688" y="2248"/>
                  <a:pt x="5026" y="1400"/>
                </a:cubicBezTo>
                <a:cubicBezTo>
                  <a:pt x="5497" y="1389"/>
                  <a:pt x="5951" y="1389"/>
                  <a:pt x="5951" y="1389"/>
                </a:cubicBezTo>
                <a:cubicBezTo>
                  <a:pt x="6458" y="1340"/>
                  <a:pt x="6674" y="880"/>
                  <a:pt x="6832" y="165"/>
                </a:cubicBezTo>
                <a:lnTo>
                  <a:pt x="6796" y="0"/>
                </a:lnTo>
                <a:cubicBezTo>
                  <a:pt x="6670" y="251"/>
                  <a:pt x="6395" y="302"/>
                  <a:pt x="6162" y="303"/>
                </a:cubicBezTo>
                <a:lnTo>
                  <a:pt x="3875" y="303"/>
                </a:lnTo>
                <a:cubicBezTo>
                  <a:pt x="2588" y="303"/>
                  <a:pt x="1799" y="1846"/>
                  <a:pt x="1671" y="4142"/>
                </a:cubicBezTo>
                <a:cubicBezTo>
                  <a:pt x="1608" y="5253"/>
                  <a:pt x="1777" y="6456"/>
                  <a:pt x="2148" y="6604"/>
                </a:cubicBezTo>
                <a:close/>
                <a:moveTo>
                  <a:pt x="6336" y="9602"/>
                </a:moveTo>
                <a:cubicBezTo>
                  <a:pt x="6013" y="11310"/>
                  <a:pt x="5562" y="12860"/>
                  <a:pt x="5174" y="12860"/>
                </a:cubicBezTo>
                <a:cubicBezTo>
                  <a:pt x="5009" y="12881"/>
                  <a:pt x="4936" y="12535"/>
                  <a:pt x="4940" y="11843"/>
                </a:cubicBezTo>
                <a:cubicBezTo>
                  <a:pt x="4940" y="11428"/>
                  <a:pt x="4966" y="10844"/>
                  <a:pt x="4989" y="10550"/>
                </a:cubicBezTo>
                <a:cubicBezTo>
                  <a:pt x="5355" y="9874"/>
                  <a:pt x="5728" y="9115"/>
                  <a:pt x="6060" y="7863"/>
                </a:cubicBezTo>
                <a:cubicBezTo>
                  <a:pt x="6246" y="7137"/>
                  <a:pt x="6370" y="6407"/>
                  <a:pt x="6376" y="5655"/>
                </a:cubicBezTo>
                <a:cubicBezTo>
                  <a:pt x="6380" y="4944"/>
                  <a:pt x="6257" y="4583"/>
                  <a:pt x="6015" y="4569"/>
                </a:cubicBezTo>
                <a:cubicBezTo>
                  <a:pt x="5664" y="4554"/>
                  <a:pt x="5243" y="5429"/>
                  <a:pt x="4968" y="6495"/>
                </a:cubicBezTo>
                <a:cubicBezTo>
                  <a:pt x="4609" y="7927"/>
                  <a:pt x="4332" y="9949"/>
                  <a:pt x="4325" y="11748"/>
                </a:cubicBezTo>
                <a:cubicBezTo>
                  <a:pt x="4321" y="13024"/>
                  <a:pt x="4487" y="14037"/>
                  <a:pt x="4936" y="13977"/>
                </a:cubicBezTo>
                <a:cubicBezTo>
                  <a:pt x="5417" y="13928"/>
                  <a:pt x="5891" y="12574"/>
                  <a:pt x="6133" y="11593"/>
                </a:cubicBezTo>
                <a:cubicBezTo>
                  <a:pt x="6105" y="12014"/>
                  <a:pt x="6085" y="12408"/>
                  <a:pt x="6085" y="12732"/>
                </a:cubicBezTo>
                <a:cubicBezTo>
                  <a:pt x="6085" y="13864"/>
                  <a:pt x="6239" y="14667"/>
                  <a:pt x="6544" y="15009"/>
                </a:cubicBezTo>
                <a:lnTo>
                  <a:pt x="6605" y="14903"/>
                </a:lnTo>
                <a:cubicBezTo>
                  <a:pt x="6578" y="14599"/>
                  <a:pt x="6571" y="14277"/>
                  <a:pt x="6578" y="13919"/>
                </a:cubicBezTo>
                <a:cubicBezTo>
                  <a:pt x="6599" y="12819"/>
                  <a:pt x="6719" y="11576"/>
                  <a:pt x="6894" y="9943"/>
                </a:cubicBezTo>
                <a:cubicBezTo>
                  <a:pt x="7231" y="6855"/>
                  <a:pt x="7720" y="3323"/>
                  <a:pt x="7934" y="1239"/>
                </a:cubicBezTo>
                <a:lnTo>
                  <a:pt x="7422" y="1596"/>
                </a:lnTo>
                <a:cubicBezTo>
                  <a:pt x="7342" y="1656"/>
                  <a:pt x="7292" y="1877"/>
                  <a:pt x="7265" y="2089"/>
                </a:cubicBezTo>
                <a:cubicBezTo>
                  <a:pt x="7018" y="4008"/>
                  <a:pt x="6764" y="6055"/>
                  <a:pt x="6447" y="8720"/>
                </a:cubicBezTo>
                <a:cubicBezTo>
                  <a:pt x="6410" y="9004"/>
                  <a:pt x="6376" y="9305"/>
                  <a:pt x="6336" y="9602"/>
                </a:cubicBezTo>
                <a:close/>
                <a:moveTo>
                  <a:pt x="5856" y="5490"/>
                </a:moveTo>
                <a:cubicBezTo>
                  <a:pt x="5935" y="5490"/>
                  <a:pt x="5963" y="5689"/>
                  <a:pt x="5963" y="5944"/>
                </a:cubicBezTo>
                <a:cubicBezTo>
                  <a:pt x="5963" y="7146"/>
                  <a:pt x="5556" y="8686"/>
                  <a:pt x="5037" y="9810"/>
                </a:cubicBezTo>
                <a:cubicBezTo>
                  <a:pt x="5167" y="7947"/>
                  <a:pt x="5534" y="5472"/>
                  <a:pt x="5856" y="5490"/>
                </a:cubicBezTo>
                <a:close/>
                <a:moveTo>
                  <a:pt x="14619" y="12665"/>
                </a:moveTo>
                <a:cubicBezTo>
                  <a:pt x="14619" y="13518"/>
                  <a:pt x="14767" y="14043"/>
                  <a:pt x="15050" y="14014"/>
                </a:cubicBezTo>
                <a:cubicBezTo>
                  <a:pt x="15344" y="13993"/>
                  <a:pt x="15642" y="13359"/>
                  <a:pt x="15889" y="12489"/>
                </a:cubicBezTo>
                <a:cubicBezTo>
                  <a:pt x="15936" y="13410"/>
                  <a:pt x="16117" y="14077"/>
                  <a:pt x="16488" y="14028"/>
                </a:cubicBezTo>
                <a:cubicBezTo>
                  <a:pt x="16874" y="13977"/>
                  <a:pt x="17243" y="13095"/>
                  <a:pt x="17499" y="12073"/>
                </a:cubicBezTo>
                <a:lnTo>
                  <a:pt x="17499" y="12368"/>
                </a:lnTo>
                <a:cubicBezTo>
                  <a:pt x="17499" y="13315"/>
                  <a:pt x="17633" y="14021"/>
                  <a:pt x="17929" y="14021"/>
                </a:cubicBezTo>
                <a:cubicBezTo>
                  <a:pt x="18248" y="14021"/>
                  <a:pt x="18615" y="13146"/>
                  <a:pt x="18906" y="11641"/>
                </a:cubicBezTo>
                <a:lnTo>
                  <a:pt x="18914" y="11657"/>
                </a:lnTo>
                <a:cubicBezTo>
                  <a:pt x="18888" y="12014"/>
                  <a:pt x="18856" y="12620"/>
                  <a:pt x="18852" y="13025"/>
                </a:cubicBezTo>
                <a:cubicBezTo>
                  <a:pt x="18847" y="14159"/>
                  <a:pt x="19032" y="14816"/>
                  <a:pt x="19289" y="15003"/>
                </a:cubicBezTo>
                <a:lnTo>
                  <a:pt x="19352" y="14911"/>
                </a:lnTo>
                <a:cubicBezTo>
                  <a:pt x="19258" y="14087"/>
                  <a:pt x="19389" y="12036"/>
                  <a:pt x="19444" y="11353"/>
                </a:cubicBezTo>
                <a:cubicBezTo>
                  <a:pt x="19635" y="9107"/>
                  <a:pt x="19938" y="6540"/>
                  <a:pt x="20114" y="5205"/>
                </a:cubicBezTo>
                <a:cubicBezTo>
                  <a:pt x="20034" y="4955"/>
                  <a:pt x="19847" y="4786"/>
                  <a:pt x="19647" y="4753"/>
                </a:cubicBezTo>
                <a:cubicBezTo>
                  <a:pt x="18983" y="4665"/>
                  <a:pt x="18316" y="5664"/>
                  <a:pt x="17830" y="8808"/>
                </a:cubicBezTo>
                <a:cubicBezTo>
                  <a:pt x="17746" y="9356"/>
                  <a:pt x="17655" y="9985"/>
                  <a:pt x="17587" y="10651"/>
                </a:cubicBezTo>
                <a:cubicBezTo>
                  <a:pt x="17518" y="10987"/>
                  <a:pt x="17445" y="11287"/>
                  <a:pt x="17415" y="11395"/>
                </a:cubicBezTo>
                <a:cubicBezTo>
                  <a:pt x="17239" y="12014"/>
                  <a:pt x="16989" y="12807"/>
                  <a:pt x="16735" y="12819"/>
                </a:cubicBezTo>
                <a:cubicBezTo>
                  <a:pt x="16590" y="12829"/>
                  <a:pt x="16510" y="12458"/>
                  <a:pt x="16514" y="11799"/>
                </a:cubicBezTo>
                <a:cubicBezTo>
                  <a:pt x="16516" y="9284"/>
                  <a:pt x="17124" y="5464"/>
                  <a:pt x="17538" y="5454"/>
                </a:cubicBezTo>
                <a:cubicBezTo>
                  <a:pt x="17650" y="5454"/>
                  <a:pt x="17700" y="5635"/>
                  <a:pt x="17700" y="5987"/>
                </a:cubicBezTo>
                <a:cubicBezTo>
                  <a:pt x="17700" y="6406"/>
                  <a:pt x="17621" y="6981"/>
                  <a:pt x="17510" y="7352"/>
                </a:cubicBezTo>
                <a:lnTo>
                  <a:pt x="17558" y="7513"/>
                </a:lnTo>
                <a:cubicBezTo>
                  <a:pt x="17835" y="7124"/>
                  <a:pt x="18093" y="6420"/>
                  <a:pt x="18095" y="5671"/>
                </a:cubicBezTo>
                <a:cubicBezTo>
                  <a:pt x="18095" y="4817"/>
                  <a:pt x="17825" y="4658"/>
                  <a:pt x="17585" y="4665"/>
                </a:cubicBezTo>
                <a:cubicBezTo>
                  <a:pt x="17262" y="4681"/>
                  <a:pt x="16861" y="5257"/>
                  <a:pt x="16539" y="6540"/>
                </a:cubicBezTo>
                <a:cubicBezTo>
                  <a:pt x="16136" y="8149"/>
                  <a:pt x="15927" y="10079"/>
                  <a:pt x="15886" y="11456"/>
                </a:cubicBezTo>
                <a:cubicBezTo>
                  <a:pt x="15702" y="12240"/>
                  <a:pt x="15496" y="12775"/>
                  <a:pt x="15358" y="12781"/>
                </a:cubicBezTo>
                <a:cubicBezTo>
                  <a:pt x="15281" y="12792"/>
                  <a:pt x="15225" y="12639"/>
                  <a:pt x="15224" y="12343"/>
                </a:cubicBezTo>
                <a:cubicBezTo>
                  <a:pt x="15224" y="12081"/>
                  <a:pt x="15266" y="11546"/>
                  <a:pt x="15336" y="10851"/>
                </a:cubicBezTo>
                <a:cubicBezTo>
                  <a:pt x="15515" y="9231"/>
                  <a:pt x="15772" y="7212"/>
                  <a:pt x="16090" y="4811"/>
                </a:cubicBezTo>
                <a:cubicBezTo>
                  <a:pt x="16090" y="4811"/>
                  <a:pt x="15608" y="5106"/>
                  <a:pt x="15538" y="5178"/>
                </a:cubicBezTo>
                <a:cubicBezTo>
                  <a:pt x="15465" y="5246"/>
                  <a:pt x="15409" y="5421"/>
                  <a:pt x="15377" y="5663"/>
                </a:cubicBezTo>
                <a:cubicBezTo>
                  <a:pt x="15170" y="7261"/>
                  <a:pt x="14925" y="9107"/>
                  <a:pt x="14773" y="10483"/>
                </a:cubicBezTo>
                <a:cubicBezTo>
                  <a:pt x="14677" y="11351"/>
                  <a:pt x="14619" y="12173"/>
                  <a:pt x="14619" y="12665"/>
                </a:cubicBezTo>
                <a:close/>
                <a:moveTo>
                  <a:pt x="19138" y="5785"/>
                </a:moveTo>
                <a:cubicBezTo>
                  <a:pt x="19291" y="5520"/>
                  <a:pt x="19420" y="5503"/>
                  <a:pt x="19529" y="5583"/>
                </a:cubicBezTo>
                <a:cubicBezTo>
                  <a:pt x="19488" y="5895"/>
                  <a:pt x="19302" y="7261"/>
                  <a:pt x="19158" y="8490"/>
                </a:cubicBezTo>
                <a:cubicBezTo>
                  <a:pt x="18929" y="10417"/>
                  <a:pt x="18585" y="12362"/>
                  <a:pt x="18267" y="12639"/>
                </a:cubicBezTo>
                <a:cubicBezTo>
                  <a:pt x="18157" y="12754"/>
                  <a:pt x="18093" y="12583"/>
                  <a:pt x="18095" y="12183"/>
                </a:cubicBezTo>
                <a:cubicBezTo>
                  <a:pt x="18104" y="10478"/>
                  <a:pt x="18619" y="6672"/>
                  <a:pt x="19138" y="5785"/>
                </a:cubicBezTo>
                <a:close/>
                <a:moveTo>
                  <a:pt x="7191" y="11749"/>
                </a:moveTo>
                <a:cubicBezTo>
                  <a:pt x="7187" y="12996"/>
                  <a:pt x="7367" y="14037"/>
                  <a:pt x="7828" y="13977"/>
                </a:cubicBezTo>
                <a:cubicBezTo>
                  <a:pt x="8321" y="13929"/>
                  <a:pt x="8771" y="12887"/>
                  <a:pt x="9160" y="11395"/>
                </a:cubicBezTo>
                <a:cubicBezTo>
                  <a:pt x="9062" y="12352"/>
                  <a:pt x="8978" y="13174"/>
                  <a:pt x="8928" y="13618"/>
                </a:cubicBezTo>
                <a:cubicBezTo>
                  <a:pt x="8784" y="14935"/>
                  <a:pt x="8677" y="15997"/>
                  <a:pt x="8456" y="16614"/>
                </a:cubicBezTo>
                <a:lnTo>
                  <a:pt x="8480" y="16775"/>
                </a:lnTo>
                <a:cubicBezTo>
                  <a:pt x="9130" y="16912"/>
                  <a:pt x="9375" y="15243"/>
                  <a:pt x="9643" y="12520"/>
                </a:cubicBezTo>
                <a:cubicBezTo>
                  <a:pt x="9910" y="9793"/>
                  <a:pt x="10137" y="7425"/>
                  <a:pt x="10313" y="5780"/>
                </a:cubicBezTo>
                <a:cubicBezTo>
                  <a:pt x="10598" y="5780"/>
                  <a:pt x="11002" y="5817"/>
                  <a:pt x="11229" y="5631"/>
                </a:cubicBezTo>
                <a:cubicBezTo>
                  <a:pt x="10638" y="6588"/>
                  <a:pt x="10137" y="10023"/>
                  <a:pt x="10196" y="12286"/>
                </a:cubicBezTo>
                <a:cubicBezTo>
                  <a:pt x="10222" y="13286"/>
                  <a:pt x="10386" y="13978"/>
                  <a:pt x="10736" y="13978"/>
                </a:cubicBezTo>
                <a:cubicBezTo>
                  <a:pt x="11413" y="13978"/>
                  <a:pt x="11982" y="11053"/>
                  <a:pt x="12199" y="9126"/>
                </a:cubicBezTo>
                <a:cubicBezTo>
                  <a:pt x="12324" y="8020"/>
                  <a:pt x="12406" y="7075"/>
                  <a:pt x="12420" y="6128"/>
                </a:cubicBezTo>
                <a:cubicBezTo>
                  <a:pt x="12581" y="6026"/>
                  <a:pt x="12735" y="5923"/>
                  <a:pt x="12812" y="5883"/>
                </a:cubicBezTo>
                <a:cubicBezTo>
                  <a:pt x="12960" y="5808"/>
                  <a:pt x="12931" y="6407"/>
                  <a:pt x="12885" y="6856"/>
                </a:cubicBezTo>
                <a:cubicBezTo>
                  <a:pt x="12608" y="9678"/>
                  <a:pt x="12129" y="13774"/>
                  <a:pt x="12127" y="13838"/>
                </a:cubicBezTo>
                <a:lnTo>
                  <a:pt x="12656" y="13838"/>
                </a:lnTo>
                <a:cubicBezTo>
                  <a:pt x="12885" y="12098"/>
                  <a:pt x="13026" y="10986"/>
                  <a:pt x="13209" y="9799"/>
                </a:cubicBezTo>
                <a:cubicBezTo>
                  <a:pt x="13430" y="8408"/>
                  <a:pt x="13922" y="6112"/>
                  <a:pt x="14117" y="6108"/>
                </a:cubicBezTo>
                <a:cubicBezTo>
                  <a:pt x="14187" y="6108"/>
                  <a:pt x="14205" y="6267"/>
                  <a:pt x="14187" y="6515"/>
                </a:cubicBezTo>
                <a:cubicBezTo>
                  <a:pt x="14153" y="7460"/>
                  <a:pt x="13520" y="11075"/>
                  <a:pt x="13530" y="12861"/>
                </a:cubicBezTo>
                <a:cubicBezTo>
                  <a:pt x="13536" y="14028"/>
                  <a:pt x="13704" y="14735"/>
                  <a:pt x="13999" y="15000"/>
                </a:cubicBezTo>
                <a:lnTo>
                  <a:pt x="14060" y="14874"/>
                </a:lnTo>
                <a:cubicBezTo>
                  <a:pt x="14023" y="14619"/>
                  <a:pt x="14018" y="14302"/>
                  <a:pt x="14017" y="13929"/>
                </a:cubicBezTo>
                <a:cubicBezTo>
                  <a:pt x="14012" y="12738"/>
                  <a:pt x="14278" y="10651"/>
                  <a:pt x="14381" y="9842"/>
                </a:cubicBezTo>
                <a:cubicBezTo>
                  <a:pt x="14544" y="8570"/>
                  <a:pt x="14835" y="6713"/>
                  <a:pt x="14816" y="5696"/>
                </a:cubicBezTo>
                <a:cubicBezTo>
                  <a:pt x="14807" y="5197"/>
                  <a:pt x="14704" y="4753"/>
                  <a:pt x="14471" y="4747"/>
                </a:cubicBezTo>
                <a:cubicBezTo>
                  <a:pt x="14040" y="4739"/>
                  <a:pt x="13611" y="6267"/>
                  <a:pt x="13251" y="8318"/>
                </a:cubicBezTo>
                <a:lnTo>
                  <a:pt x="13241" y="8308"/>
                </a:lnTo>
                <a:cubicBezTo>
                  <a:pt x="13385" y="7116"/>
                  <a:pt x="13498" y="6010"/>
                  <a:pt x="13494" y="5471"/>
                </a:cubicBezTo>
                <a:cubicBezTo>
                  <a:pt x="13491" y="4978"/>
                  <a:pt x="13414" y="4785"/>
                  <a:pt x="13253" y="4785"/>
                </a:cubicBezTo>
                <a:cubicBezTo>
                  <a:pt x="13139" y="4797"/>
                  <a:pt x="12985" y="4954"/>
                  <a:pt x="12832" y="5105"/>
                </a:cubicBezTo>
                <a:cubicBezTo>
                  <a:pt x="12619" y="5306"/>
                  <a:pt x="12395" y="5518"/>
                  <a:pt x="12148" y="5706"/>
                </a:cubicBezTo>
                <a:cubicBezTo>
                  <a:pt x="11998" y="5780"/>
                  <a:pt x="11945" y="5882"/>
                  <a:pt x="11950" y="6080"/>
                </a:cubicBezTo>
                <a:cubicBezTo>
                  <a:pt x="11981" y="9212"/>
                  <a:pt x="11397" y="12892"/>
                  <a:pt x="11007" y="12905"/>
                </a:cubicBezTo>
                <a:cubicBezTo>
                  <a:pt x="10840" y="12905"/>
                  <a:pt x="10802" y="12459"/>
                  <a:pt x="10802" y="11843"/>
                </a:cubicBezTo>
                <a:cubicBezTo>
                  <a:pt x="10801" y="9677"/>
                  <a:pt x="11289" y="6041"/>
                  <a:pt x="11765" y="5463"/>
                </a:cubicBezTo>
                <a:cubicBezTo>
                  <a:pt x="11806" y="5421"/>
                  <a:pt x="11847" y="5389"/>
                  <a:pt x="11874" y="5357"/>
                </a:cubicBezTo>
                <a:lnTo>
                  <a:pt x="11935" y="4773"/>
                </a:lnTo>
                <a:cubicBezTo>
                  <a:pt x="11834" y="4850"/>
                  <a:pt x="11593" y="4863"/>
                  <a:pt x="11467" y="4875"/>
                </a:cubicBezTo>
                <a:lnTo>
                  <a:pt x="10421" y="4875"/>
                </a:lnTo>
                <a:cubicBezTo>
                  <a:pt x="10697" y="2471"/>
                  <a:pt x="11085" y="915"/>
                  <a:pt x="11653" y="823"/>
                </a:cubicBezTo>
                <a:cubicBezTo>
                  <a:pt x="12005" y="779"/>
                  <a:pt x="12243" y="1264"/>
                  <a:pt x="12264" y="2003"/>
                </a:cubicBezTo>
                <a:cubicBezTo>
                  <a:pt x="12278" y="2630"/>
                  <a:pt x="12231" y="3141"/>
                  <a:pt x="12093" y="3660"/>
                </a:cubicBezTo>
                <a:lnTo>
                  <a:pt x="12132" y="3802"/>
                </a:lnTo>
                <a:cubicBezTo>
                  <a:pt x="12443" y="3265"/>
                  <a:pt x="12658" y="2353"/>
                  <a:pt x="12659" y="1732"/>
                </a:cubicBezTo>
                <a:cubicBezTo>
                  <a:pt x="12663" y="767"/>
                  <a:pt x="12345" y="175"/>
                  <a:pt x="11837" y="193"/>
                </a:cubicBezTo>
                <a:cubicBezTo>
                  <a:pt x="11191" y="207"/>
                  <a:pt x="10396" y="739"/>
                  <a:pt x="9840" y="4943"/>
                </a:cubicBezTo>
                <a:cubicBezTo>
                  <a:pt x="9674" y="5036"/>
                  <a:pt x="9524" y="5265"/>
                  <a:pt x="9398" y="5758"/>
                </a:cubicBezTo>
                <a:lnTo>
                  <a:pt x="9421" y="5943"/>
                </a:lnTo>
                <a:cubicBezTo>
                  <a:pt x="9511" y="5825"/>
                  <a:pt x="9618" y="5807"/>
                  <a:pt x="9739" y="5807"/>
                </a:cubicBezTo>
                <a:cubicBezTo>
                  <a:pt x="9662" y="6494"/>
                  <a:pt x="9507" y="7990"/>
                  <a:pt x="9354" y="9529"/>
                </a:cubicBezTo>
                <a:cubicBezTo>
                  <a:pt x="8885" y="11784"/>
                  <a:pt x="8415" y="12859"/>
                  <a:pt x="8071" y="12859"/>
                </a:cubicBezTo>
                <a:cubicBezTo>
                  <a:pt x="7883" y="12880"/>
                  <a:pt x="7808" y="12503"/>
                  <a:pt x="7805" y="11842"/>
                </a:cubicBezTo>
                <a:cubicBezTo>
                  <a:pt x="7803" y="11427"/>
                  <a:pt x="7832" y="10850"/>
                  <a:pt x="7854" y="10549"/>
                </a:cubicBezTo>
                <a:cubicBezTo>
                  <a:pt x="8222" y="9873"/>
                  <a:pt x="8592" y="9114"/>
                  <a:pt x="8926" y="7862"/>
                </a:cubicBezTo>
                <a:cubicBezTo>
                  <a:pt x="9110" y="7136"/>
                  <a:pt x="9238" y="6406"/>
                  <a:pt x="9242" y="5654"/>
                </a:cubicBezTo>
                <a:cubicBezTo>
                  <a:pt x="9245" y="4943"/>
                  <a:pt x="9126" y="4582"/>
                  <a:pt x="8880" y="4568"/>
                </a:cubicBezTo>
                <a:cubicBezTo>
                  <a:pt x="8531" y="4553"/>
                  <a:pt x="8109" y="5428"/>
                  <a:pt x="7834" y="6494"/>
                </a:cubicBezTo>
                <a:cubicBezTo>
                  <a:pt x="7475" y="7927"/>
                  <a:pt x="7197" y="9950"/>
                  <a:pt x="7191" y="11749"/>
                </a:cubicBezTo>
                <a:close/>
                <a:moveTo>
                  <a:pt x="8720" y="5490"/>
                </a:moveTo>
                <a:cubicBezTo>
                  <a:pt x="8799" y="5490"/>
                  <a:pt x="8832" y="5689"/>
                  <a:pt x="8832" y="5944"/>
                </a:cubicBezTo>
                <a:cubicBezTo>
                  <a:pt x="8828" y="7146"/>
                  <a:pt x="8425" y="8686"/>
                  <a:pt x="7901" y="9810"/>
                </a:cubicBezTo>
                <a:cubicBezTo>
                  <a:pt x="8033" y="7947"/>
                  <a:pt x="8400" y="5472"/>
                  <a:pt x="8720" y="5490"/>
                </a:cubicBezTo>
                <a:close/>
                <a:moveTo>
                  <a:pt x="8720" y="5490"/>
                </a:moveTo>
              </a:path>
            </a:pathLst>
          </a:custGeom>
          <a:solidFill>
            <a:srgbClr val="00334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GB">
              <a:solidFill>
                <a:srgbClr val="003245"/>
              </a:solidFill>
            </a:endParaRPr>
          </a:p>
        </p:txBody>
      </p:sp>
      <p:sp>
        <p:nvSpPr>
          <p:cNvPr id="6148" name="Rectangle 13"/>
          <p:cNvSpPr>
            <a:spLocks/>
          </p:cNvSpPr>
          <p:nvPr/>
        </p:nvSpPr>
        <p:spPr bwMode="auto">
          <a:xfrm rot="10800000">
            <a:off x="7164292" y="6332538"/>
            <a:ext cx="864577" cy="49212"/>
          </a:xfrm>
          <a:prstGeom prst="rect">
            <a:avLst/>
          </a:prstGeom>
          <a:solidFill>
            <a:srgbClr val="156273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ES">
              <a:solidFill>
                <a:srgbClr val="003245"/>
              </a:solidFill>
            </a:endParaRPr>
          </a:p>
        </p:txBody>
      </p:sp>
      <p:sp>
        <p:nvSpPr>
          <p:cNvPr id="6149" name="Rectangle 12"/>
          <p:cNvSpPr>
            <a:spLocks/>
          </p:cNvSpPr>
          <p:nvPr/>
        </p:nvSpPr>
        <p:spPr bwMode="auto">
          <a:xfrm rot="10800000">
            <a:off x="8015680" y="6332538"/>
            <a:ext cx="1122485" cy="49212"/>
          </a:xfrm>
          <a:prstGeom prst="rect">
            <a:avLst/>
          </a:prstGeom>
          <a:solidFill>
            <a:srgbClr val="11536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ES">
              <a:solidFill>
                <a:srgbClr val="003245"/>
              </a:solidFill>
            </a:endParaRPr>
          </a:p>
        </p:txBody>
      </p:sp>
      <p:sp>
        <p:nvSpPr>
          <p:cNvPr id="6150" name="Rectangle 14"/>
          <p:cNvSpPr>
            <a:spLocks/>
          </p:cNvSpPr>
          <p:nvPr/>
        </p:nvSpPr>
        <p:spPr bwMode="auto">
          <a:xfrm rot="10800000">
            <a:off x="6268916" y="6332538"/>
            <a:ext cx="895350" cy="49212"/>
          </a:xfrm>
          <a:prstGeom prst="rect">
            <a:avLst/>
          </a:prstGeom>
          <a:solidFill>
            <a:srgbClr val="1C8494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ES">
              <a:solidFill>
                <a:srgbClr val="003245"/>
              </a:solidFill>
            </a:endParaRPr>
          </a:p>
        </p:txBody>
      </p:sp>
      <p:sp>
        <p:nvSpPr>
          <p:cNvPr id="6151" name="Rectangle 15"/>
          <p:cNvSpPr>
            <a:spLocks/>
          </p:cNvSpPr>
          <p:nvPr/>
        </p:nvSpPr>
        <p:spPr bwMode="auto">
          <a:xfrm rot="10800000">
            <a:off x="-5857" y="6332538"/>
            <a:ext cx="6274777" cy="49212"/>
          </a:xfrm>
          <a:prstGeom prst="rect">
            <a:avLst/>
          </a:prstGeom>
          <a:solidFill>
            <a:srgbClr val="29C6D4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ES">
              <a:solidFill>
                <a:srgbClr val="003245"/>
              </a:solidFill>
            </a:endParaRPr>
          </a:p>
        </p:txBody>
      </p:sp>
      <p:sp>
        <p:nvSpPr>
          <p:cNvPr id="1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425880" y="6464175"/>
            <a:ext cx="279065" cy="29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lang="en-US" sz="1000" smtClean="0">
                <a:solidFill>
                  <a:srgbClr val="072534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fld id="{9D9F8B9A-560A-470D-9EA6-79F5999904E6}" type="slidenum">
              <a:rPr lang="en-GB"/>
              <a:pPr/>
              <a:t>‹Nº›</a:t>
            </a:fld>
            <a:endParaRPr lang="en-GB" dirty="0"/>
          </a:p>
        </p:txBody>
      </p:sp>
      <p:sp>
        <p:nvSpPr>
          <p:cNvPr id="11" name="AutoShape 1"/>
          <p:cNvSpPr>
            <a:spLocks/>
          </p:cNvSpPr>
          <p:nvPr userDrawn="1"/>
        </p:nvSpPr>
        <p:spPr bwMode="auto">
          <a:xfrm>
            <a:off x="4812407" y="46567"/>
            <a:ext cx="4287838" cy="701675"/>
          </a:xfrm>
          <a:custGeom>
            <a:avLst/>
            <a:gdLst>
              <a:gd name="T0" fmla="*/ 2458 w 21600"/>
              <a:gd name="T1" fmla="*/ 2391 h 21600"/>
              <a:gd name="T2" fmla="*/ 2237 w 21600"/>
              <a:gd name="T3" fmla="*/ 15634 h 21600"/>
              <a:gd name="T4" fmla="*/ 0 w 21600"/>
              <a:gd name="T5" fmla="*/ 18315 h 21600"/>
              <a:gd name="T6" fmla="*/ 1376 w 21600"/>
              <a:gd name="T7" fmla="*/ 341 h 21600"/>
              <a:gd name="T8" fmla="*/ 971 w 21600"/>
              <a:gd name="T9" fmla="*/ 15319 h 21600"/>
              <a:gd name="T10" fmla="*/ 2028 w 21600"/>
              <a:gd name="T11" fmla="*/ 7436 h 21600"/>
              <a:gd name="T12" fmla="*/ 1359 w 21600"/>
              <a:gd name="T13" fmla="*/ 3337 h 21600"/>
              <a:gd name="T14" fmla="*/ 750 w 21600"/>
              <a:gd name="T15" fmla="*/ 15319 h 21600"/>
              <a:gd name="T16" fmla="*/ 3591 w 21600"/>
              <a:gd name="T17" fmla="*/ 18315 h 21600"/>
              <a:gd name="T18" fmla="*/ 3438 w 21600"/>
              <a:gd name="T19" fmla="*/ 341 h 21600"/>
              <a:gd name="T20" fmla="*/ 5406 w 21600"/>
              <a:gd name="T21" fmla="*/ 11010 h 21600"/>
              <a:gd name="T22" fmla="*/ 5176 w 21600"/>
              <a:gd name="T23" fmla="*/ 15529 h 21600"/>
              <a:gd name="T24" fmla="*/ 4196 w 21600"/>
              <a:gd name="T25" fmla="*/ 17606 h 21600"/>
              <a:gd name="T26" fmla="*/ 6088 w 21600"/>
              <a:gd name="T27" fmla="*/ 17185 h 21600"/>
              <a:gd name="T28" fmla="*/ 5832 w 21600"/>
              <a:gd name="T29" fmla="*/ 8014 h 21600"/>
              <a:gd name="T30" fmla="*/ 5151 w 21600"/>
              <a:gd name="T31" fmla="*/ 5071 h 21600"/>
              <a:gd name="T32" fmla="*/ 6373 w 21600"/>
              <a:gd name="T33" fmla="*/ 3836 h 21600"/>
              <a:gd name="T34" fmla="*/ 5700 w 21600"/>
              <a:gd name="T35" fmla="*/ 0 h 21600"/>
              <a:gd name="T36" fmla="*/ 4516 w 21600"/>
              <a:gd name="T37" fmla="*/ 5570 h 21600"/>
              <a:gd name="T38" fmla="*/ 5406 w 21600"/>
              <a:gd name="T39" fmla="*/ 11010 h 21600"/>
              <a:gd name="T40" fmla="*/ 8384 w 21600"/>
              <a:gd name="T41" fmla="*/ 0 h 21600"/>
              <a:gd name="T42" fmla="*/ 6787 w 21600"/>
              <a:gd name="T43" fmla="*/ 11562 h 21600"/>
              <a:gd name="T44" fmla="*/ 8708 w 21600"/>
              <a:gd name="T45" fmla="*/ 18131 h 21600"/>
              <a:gd name="T46" fmla="*/ 8137 w 21600"/>
              <a:gd name="T47" fmla="*/ 15504 h 21600"/>
              <a:gd name="T48" fmla="*/ 7473 w 21600"/>
              <a:gd name="T49" fmla="*/ 11324 h 21600"/>
              <a:gd name="T50" fmla="*/ 8431 w 21600"/>
              <a:gd name="T51" fmla="*/ 3179 h 21600"/>
              <a:gd name="T52" fmla="*/ 9194 w 21600"/>
              <a:gd name="T53" fmla="*/ 867 h 21600"/>
              <a:gd name="T54" fmla="*/ 9569 w 21600"/>
              <a:gd name="T55" fmla="*/ 4257 h 21600"/>
              <a:gd name="T56" fmla="*/ 11976 w 21600"/>
              <a:gd name="T57" fmla="*/ 6884 h 21600"/>
              <a:gd name="T58" fmla="*/ 10395 w 21600"/>
              <a:gd name="T59" fmla="*/ 18683 h 21600"/>
              <a:gd name="T60" fmla="*/ 10169 w 21600"/>
              <a:gd name="T61" fmla="*/ 5860 h 21600"/>
              <a:gd name="T62" fmla="*/ 10446 w 21600"/>
              <a:gd name="T63" fmla="*/ 15477 h 21600"/>
              <a:gd name="T64" fmla="*/ 11290 w 21600"/>
              <a:gd name="T65" fmla="*/ 6884 h 21600"/>
              <a:gd name="T66" fmla="*/ 10169 w 21600"/>
              <a:gd name="T67" fmla="*/ 5860 h 21600"/>
              <a:gd name="T68" fmla="*/ 12811 w 21600"/>
              <a:gd name="T69" fmla="*/ 18315 h 21600"/>
              <a:gd name="T70" fmla="*/ 15009 w 21600"/>
              <a:gd name="T71" fmla="*/ 341 h 21600"/>
              <a:gd name="T72" fmla="*/ 13314 w 21600"/>
              <a:gd name="T73" fmla="*/ 13585 h 21600"/>
              <a:gd name="T74" fmla="*/ 12308 w 21600"/>
              <a:gd name="T75" fmla="*/ 341 h 21600"/>
              <a:gd name="T76" fmla="*/ 16726 w 21600"/>
              <a:gd name="T77" fmla="*/ 10747 h 21600"/>
              <a:gd name="T78" fmla="*/ 15815 w 21600"/>
              <a:gd name="T79" fmla="*/ 7673 h 21600"/>
              <a:gd name="T80" fmla="*/ 17191 w 21600"/>
              <a:gd name="T81" fmla="*/ 3311 h 21600"/>
              <a:gd name="T82" fmla="*/ 15359 w 21600"/>
              <a:gd name="T83" fmla="*/ 341 h 21600"/>
              <a:gd name="T84" fmla="*/ 16837 w 21600"/>
              <a:gd name="T85" fmla="*/ 18315 h 21600"/>
              <a:gd name="T86" fmla="*/ 15597 w 21600"/>
              <a:gd name="T87" fmla="*/ 15346 h 21600"/>
              <a:gd name="T88" fmla="*/ 19700 w 21600"/>
              <a:gd name="T89" fmla="*/ 8803 h 21600"/>
              <a:gd name="T90" fmla="*/ 19628 w 21600"/>
              <a:gd name="T91" fmla="*/ 18315 h 21600"/>
              <a:gd name="T92" fmla="*/ 18575 w 21600"/>
              <a:gd name="T93" fmla="*/ 11799 h 21600"/>
              <a:gd name="T94" fmla="*/ 18000 w 21600"/>
              <a:gd name="T95" fmla="*/ 18315 h 21600"/>
              <a:gd name="T96" fmla="*/ 17847 w 21600"/>
              <a:gd name="T97" fmla="*/ 341 h 21600"/>
              <a:gd name="T98" fmla="*/ 19611 w 21600"/>
              <a:gd name="T99" fmla="*/ 1655 h 21600"/>
              <a:gd name="T100" fmla="*/ 19700 w 21600"/>
              <a:gd name="T101" fmla="*/ 8803 h 21600"/>
              <a:gd name="T102" fmla="*/ 18524 w 21600"/>
              <a:gd name="T103" fmla="*/ 8830 h 21600"/>
              <a:gd name="T104" fmla="*/ 19197 w 21600"/>
              <a:gd name="T105" fmla="*/ 5492 h 21600"/>
              <a:gd name="T106" fmla="*/ 18758 w 21600"/>
              <a:gd name="T107" fmla="*/ 3311 h 21600"/>
              <a:gd name="T108" fmla="*/ 18268 w 21600"/>
              <a:gd name="T109" fmla="*/ 8830 h 21600"/>
              <a:gd name="T110" fmla="*/ 21600 w 21600"/>
              <a:gd name="T111" fmla="*/ 19051 h 21600"/>
              <a:gd name="T112" fmla="*/ 19696 w 21600"/>
              <a:gd name="T113" fmla="*/ 21600 h 21600"/>
              <a:gd name="T114" fmla="*/ 21523 w 21600"/>
              <a:gd name="T115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1600" h="21600">
                <a:moveTo>
                  <a:pt x="1376" y="341"/>
                </a:moveTo>
                <a:cubicBezTo>
                  <a:pt x="1811" y="341"/>
                  <a:pt x="2215" y="815"/>
                  <a:pt x="2458" y="2391"/>
                </a:cubicBezTo>
                <a:cubicBezTo>
                  <a:pt x="2650" y="3626"/>
                  <a:pt x="2714" y="5334"/>
                  <a:pt x="2714" y="7357"/>
                </a:cubicBezTo>
                <a:cubicBezTo>
                  <a:pt x="2714" y="10564"/>
                  <a:pt x="2556" y="13612"/>
                  <a:pt x="2237" y="15634"/>
                </a:cubicBezTo>
                <a:cubicBezTo>
                  <a:pt x="1900" y="17764"/>
                  <a:pt x="1431" y="18315"/>
                  <a:pt x="903" y="18315"/>
                </a:cubicBezTo>
                <a:lnTo>
                  <a:pt x="0" y="18315"/>
                </a:lnTo>
                <a:lnTo>
                  <a:pt x="511" y="341"/>
                </a:lnTo>
                <a:lnTo>
                  <a:pt x="1376" y="341"/>
                </a:lnTo>
                <a:close/>
                <a:moveTo>
                  <a:pt x="750" y="15319"/>
                </a:moveTo>
                <a:lnTo>
                  <a:pt x="971" y="15319"/>
                </a:lnTo>
                <a:cubicBezTo>
                  <a:pt x="1333" y="15319"/>
                  <a:pt x="1572" y="14768"/>
                  <a:pt x="1760" y="13112"/>
                </a:cubicBezTo>
                <a:cubicBezTo>
                  <a:pt x="1913" y="11745"/>
                  <a:pt x="2028" y="9669"/>
                  <a:pt x="2028" y="7436"/>
                </a:cubicBezTo>
                <a:cubicBezTo>
                  <a:pt x="2028" y="6070"/>
                  <a:pt x="1985" y="5098"/>
                  <a:pt x="1887" y="4415"/>
                </a:cubicBezTo>
                <a:cubicBezTo>
                  <a:pt x="1785" y="3705"/>
                  <a:pt x="1623" y="3337"/>
                  <a:pt x="1359" y="3337"/>
                </a:cubicBezTo>
                <a:lnTo>
                  <a:pt x="1091" y="3337"/>
                </a:lnTo>
                <a:lnTo>
                  <a:pt x="750" y="15319"/>
                </a:lnTo>
                <a:close/>
                <a:moveTo>
                  <a:pt x="2927" y="18315"/>
                </a:moveTo>
                <a:lnTo>
                  <a:pt x="3591" y="18315"/>
                </a:lnTo>
                <a:lnTo>
                  <a:pt x="4103" y="341"/>
                </a:lnTo>
                <a:lnTo>
                  <a:pt x="3438" y="341"/>
                </a:lnTo>
                <a:lnTo>
                  <a:pt x="2927" y="18315"/>
                </a:lnTo>
                <a:close/>
                <a:moveTo>
                  <a:pt x="5406" y="11010"/>
                </a:moveTo>
                <a:cubicBezTo>
                  <a:pt x="5671" y="11667"/>
                  <a:pt x="5777" y="12298"/>
                  <a:pt x="5777" y="13296"/>
                </a:cubicBezTo>
                <a:cubicBezTo>
                  <a:pt x="5777" y="15083"/>
                  <a:pt x="5449" y="15529"/>
                  <a:pt x="5176" y="15529"/>
                </a:cubicBezTo>
                <a:cubicBezTo>
                  <a:pt x="4895" y="15529"/>
                  <a:pt x="4567" y="15109"/>
                  <a:pt x="4329" y="14558"/>
                </a:cubicBezTo>
                <a:lnTo>
                  <a:pt x="4196" y="17606"/>
                </a:lnTo>
                <a:cubicBezTo>
                  <a:pt x="4524" y="18341"/>
                  <a:pt x="4861" y="18682"/>
                  <a:pt x="5172" y="18682"/>
                </a:cubicBezTo>
                <a:cubicBezTo>
                  <a:pt x="5547" y="18682"/>
                  <a:pt x="5862" y="18183"/>
                  <a:pt x="6088" y="17185"/>
                </a:cubicBezTo>
                <a:cubicBezTo>
                  <a:pt x="6331" y="16108"/>
                  <a:pt x="6425" y="14557"/>
                  <a:pt x="6425" y="12876"/>
                </a:cubicBezTo>
                <a:cubicBezTo>
                  <a:pt x="6425" y="10563"/>
                  <a:pt x="6241" y="9039"/>
                  <a:pt x="5832" y="8014"/>
                </a:cubicBezTo>
                <a:lnTo>
                  <a:pt x="5581" y="7384"/>
                </a:lnTo>
                <a:cubicBezTo>
                  <a:pt x="5244" y="6542"/>
                  <a:pt x="5151" y="5859"/>
                  <a:pt x="5151" y="5071"/>
                </a:cubicBezTo>
                <a:cubicBezTo>
                  <a:pt x="5151" y="3731"/>
                  <a:pt x="5394" y="3153"/>
                  <a:pt x="5700" y="3153"/>
                </a:cubicBezTo>
                <a:cubicBezTo>
                  <a:pt x="5909" y="3153"/>
                  <a:pt x="6143" y="3415"/>
                  <a:pt x="6373" y="3836"/>
                </a:cubicBezTo>
                <a:lnTo>
                  <a:pt x="6540" y="946"/>
                </a:lnTo>
                <a:cubicBezTo>
                  <a:pt x="6250" y="341"/>
                  <a:pt x="5986" y="0"/>
                  <a:pt x="5700" y="0"/>
                </a:cubicBezTo>
                <a:cubicBezTo>
                  <a:pt x="5368" y="0"/>
                  <a:pt x="5074" y="473"/>
                  <a:pt x="4870" y="1340"/>
                </a:cubicBezTo>
                <a:cubicBezTo>
                  <a:pt x="4644" y="2285"/>
                  <a:pt x="4516" y="3758"/>
                  <a:pt x="4516" y="5570"/>
                </a:cubicBezTo>
                <a:cubicBezTo>
                  <a:pt x="4516" y="7830"/>
                  <a:pt x="4716" y="9276"/>
                  <a:pt x="5155" y="10379"/>
                </a:cubicBezTo>
                <a:lnTo>
                  <a:pt x="5406" y="11010"/>
                </a:lnTo>
                <a:close/>
                <a:moveTo>
                  <a:pt x="9194" y="867"/>
                </a:moveTo>
                <a:cubicBezTo>
                  <a:pt x="8947" y="368"/>
                  <a:pt x="8678" y="0"/>
                  <a:pt x="8384" y="0"/>
                </a:cubicBezTo>
                <a:cubicBezTo>
                  <a:pt x="7988" y="0"/>
                  <a:pt x="7601" y="605"/>
                  <a:pt x="7298" y="2602"/>
                </a:cubicBezTo>
                <a:cubicBezTo>
                  <a:pt x="6949" y="4914"/>
                  <a:pt x="6787" y="8592"/>
                  <a:pt x="6787" y="11562"/>
                </a:cubicBezTo>
                <a:cubicBezTo>
                  <a:pt x="6787" y="16423"/>
                  <a:pt x="7204" y="18683"/>
                  <a:pt x="7988" y="18683"/>
                </a:cubicBezTo>
                <a:cubicBezTo>
                  <a:pt x="8244" y="18683"/>
                  <a:pt x="8525" y="18446"/>
                  <a:pt x="8708" y="18131"/>
                </a:cubicBezTo>
                <a:lnTo>
                  <a:pt x="8725" y="15135"/>
                </a:lnTo>
                <a:cubicBezTo>
                  <a:pt x="8546" y="15346"/>
                  <a:pt x="8320" y="15504"/>
                  <a:pt x="8137" y="15504"/>
                </a:cubicBezTo>
                <a:cubicBezTo>
                  <a:pt x="7903" y="15504"/>
                  <a:pt x="7711" y="15240"/>
                  <a:pt x="7596" y="14294"/>
                </a:cubicBezTo>
                <a:cubicBezTo>
                  <a:pt x="7502" y="13532"/>
                  <a:pt x="7473" y="12429"/>
                  <a:pt x="7473" y="11324"/>
                </a:cubicBezTo>
                <a:cubicBezTo>
                  <a:pt x="7473" y="9224"/>
                  <a:pt x="7583" y="6884"/>
                  <a:pt x="7733" y="5440"/>
                </a:cubicBezTo>
                <a:cubicBezTo>
                  <a:pt x="7916" y="3652"/>
                  <a:pt x="8163" y="3179"/>
                  <a:pt x="8431" y="3179"/>
                </a:cubicBezTo>
                <a:cubicBezTo>
                  <a:pt x="8644" y="3179"/>
                  <a:pt x="8849" y="3469"/>
                  <a:pt x="9028" y="3784"/>
                </a:cubicBezTo>
                <a:lnTo>
                  <a:pt x="9194" y="867"/>
                </a:lnTo>
                <a:close/>
                <a:moveTo>
                  <a:pt x="9262" y="11799"/>
                </a:moveTo>
                <a:cubicBezTo>
                  <a:pt x="9262" y="9039"/>
                  <a:pt x="9373" y="6333"/>
                  <a:pt x="9569" y="4257"/>
                </a:cubicBezTo>
                <a:cubicBezTo>
                  <a:pt x="9833" y="1472"/>
                  <a:pt x="10255" y="0"/>
                  <a:pt x="10843" y="0"/>
                </a:cubicBezTo>
                <a:cubicBezTo>
                  <a:pt x="11516" y="0"/>
                  <a:pt x="11976" y="2181"/>
                  <a:pt x="11976" y="6884"/>
                </a:cubicBezTo>
                <a:cubicBezTo>
                  <a:pt x="11976" y="9644"/>
                  <a:pt x="11865" y="12350"/>
                  <a:pt x="11669" y="14426"/>
                </a:cubicBezTo>
                <a:cubicBezTo>
                  <a:pt x="11405" y="17211"/>
                  <a:pt x="10983" y="18683"/>
                  <a:pt x="10395" y="18683"/>
                </a:cubicBezTo>
                <a:cubicBezTo>
                  <a:pt x="9722" y="18683"/>
                  <a:pt x="9262" y="16502"/>
                  <a:pt x="9262" y="11799"/>
                </a:cubicBezTo>
                <a:moveTo>
                  <a:pt x="10169" y="5860"/>
                </a:moveTo>
                <a:cubicBezTo>
                  <a:pt x="10029" y="7516"/>
                  <a:pt x="9948" y="9670"/>
                  <a:pt x="9948" y="11799"/>
                </a:cubicBezTo>
                <a:cubicBezTo>
                  <a:pt x="9948" y="14505"/>
                  <a:pt x="10148" y="15477"/>
                  <a:pt x="10446" y="15477"/>
                </a:cubicBezTo>
                <a:cubicBezTo>
                  <a:pt x="10727" y="15477"/>
                  <a:pt x="10928" y="14452"/>
                  <a:pt x="11068" y="12823"/>
                </a:cubicBezTo>
                <a:cubicBezTo>
                  <a:pt x="11209" y="11167"/>
                  <a:pt x="11290" y="9013"/>
                  <a:pt x="11290" y="6884"/>
                </a:cubicBezTo>
                <a:cubicBezTo>
                  <a:pt x="11290" y="4178"/>
                  <a:pt x="11090" y="3206"/>
                  <a:pt x="10791" y="3206"/>
                </a:cubicBezTo>
                <a:cubicBezTo>
                  <a:pt x="10510" y="3206"/>
                  <a:pt x="10310" y="4231"/>
                  <a:pt x="10169" y="5860"/>
                </a:cubicBezTo>
                <a:moveTo>
                  <a:pt x="12308" y="341"/>
                </a:moveTo>
                <a:lnTo>
                  <a:pt x="12811" y="18315"/>
                </a:lnTo>
                <a:lnTo>
                  <a:pt x="13531" y="18315"/>
                </a:lnTo>
                <a:lnTo>
                  <a:pt x="15009" y="341"/>
                </a:lnTo>
                <a:lnTo>
                  <a:pt x="14328" y="341"/>
                </a:lnTo>
                <a:lnTo>
                  <a:pt x="13314" y="13585"/>
                </a:lnTo>
                <a:lnTo>
                  <a:pt x="12994" y="341"/>
                </a:lnTo>
                <a:lnTo>
                  <a:pt x="12308" y="341"/>
                </a:lnTo>
                <a:close/>
                <a:moveTo>
                  <a:pt x="15725" y="10747"/>
                </a:moveTo>
                <a:lnTo>
                  <a:pt x="16726" y="10747"/>
                </a:lnTo>
                <a:lnTo>
                  <a:pt x="16815" y="7673"/>
                </a:lnTo>
                <a:lnTo>
                  <a:pt x="15815" y="7673"/>
                </a:lnTo>
                <a:lnTo>
                  <a:pt x="15938" y="3311"/>
                </a:lnTo>
                <a:lnTo>
                  <a:pt x="17191" y="3311"/>
                </a:lnTo>
                <a:lnTo>
                  <a:pt x="17327" y="341"/>
                </a:lnTo>
                <a:lnTo>
                  <a:pt x="15359" y="341"/>
                </a:lnTo>
                <a:lnTo>
                  <a:pt x="14847" y="18315"/>
                </a:lnTo>
                <a:lnTo>
                  <a:pt x="16837" y="18315"/>
                </a:lnTo>
                <a:lnTo>
                  <a:pt x="16918" y="15346"/>
                </a:lnTo>
                <a:lnTo>
                  <a:pt x="15597" y="15346"/>
                </a:lnTo>
                <a:lnTo>
                  <a:pt x="15725" y="10747"/>
                </a:lnTo>
                <a:close/>
                <a:moveTo>
                  <a:pt x="19700" y="8803"/>
                </a:moveTo>
                <a:cubicBezTo>
                  <a:pt x="19589" y="9748"/>
                  <a:pt x="19410" y="10537"/>
                  <a:pt x="19176" y="11115"/>
                </a:cubicBezTo>
                <a:lnTo>
                  <a:pt x="19628" y="18315"/>
                </a:lnTo>
                <a:lnTo>
                  <a:pt x="18916" y="18315"/>
                </a:lnTo>
                <a:lnTo>
                  <a:pt x="18575" y="11799"/>
                </a:lnTo>
                <a:lnTo>
                  <a:pt x="18183" y="11799"/>
                </a:lnTo>
                <a:lnTo>
                  <a:pt x="18000" y="18315"/>
                </a:lnTo>
                <a:lnTo>
                  <a:pt x="17336" y="18315"/>
                </a:lnTo>
                <a:lnTo>
                  <a:pt x="17847" y="341"/>
                </a:lnTo>
                <a:lnTo>
                  <a:pt x="18839" y="341"/>
                </a:lnTo>
                <a:cubicBezTo>
                  <a:pt x="19201" y="341"/>
                  <a:pt x="19453" y="815"/>
                  <a:pt x="19611" y="1655"/>
                </a:cubicBezTo>
                <a:cubicBezTo>
                  <a:pt x="19785" y="2575"/>
                  <a:pt x="19858" y="3915"/>
                  <a:pt x="19858" y="5466"/>
                </a:cubicBezTo>
                <a:cubicBezTo>
                  <a:pt x="19858" y="6753"/>
                  <a:pt x="19806" y="7883"/>
                  <a:pt x="19700" y="8803"/>
                </a:cubicBezTo>
                <a:moveTo>
                  <a:pt x="18268" y="8830"/>
                </a:moveTo>
                <a:lnTo>
                  <a:pt x="18524" y="8830"/>
                </a:lnTo>
                <a:cubicBezTo>
                  <a:pt x="18729" y="8830"/>
                  <a:pt x="18912" y="8592"/>
                  <a:pt x="19035" y="7883"/>
                </a:cubicBezTo>
                <a:cubicBezTo>
                  <a:pt x="19133" y="7331"/>
                  <a:pt x="19197" y="6437"/>
                  <a:pt x="19197" y="5492"/>
                </a:cubicBezTo>
                <a:cubicBezTo>
                  <a:pt x="19197" y="4887"/>
                  <a:pt x="19172" y="4336"/>
                  <a:pt x="19112" y="3968"/>
                </a:cubicBezTo>
                <a:cubicBezTo>
                  <a:pt x="19044" y="3548"/>
                  <a:pt x="18937" y="3311"/>
                  <a:pt x="18758" y="3311"/>
                </a:cubicBezTo>
                <a:lnTo>
                  <a:pt x="18426" y="3311"/>
                </a:lnTo>
                <a:lnTo>
                  <a:pt x="18268" y="8830"/>
                </a:lnTo>
                <a:close/>
                <a:moveTo>
                  <a:pt x="21523" y="21600"/>
                </a:moveTo>
                <a:lnTo>
                  <a:pt x="21600" y="19051"/>
                </a:lnTo>
                <a:lnTo>
                  <a:pt x="19772" y="19051"/>
                </a:lnTo>
                <a:lnTo>
                  <a:pt x="19696" y="21600"/>
                </a:lnTo>
                <a:lnTo>
                  <a:pt x="21523" y="21600"/>
                </a:lnTo>
                <a:close/>
                <a:moveTo>
                  <a:pt x="21523" y="21600"/>
                </a:moveTo>
              </a:path>
            </a:pathLst>
          </a:custGeom>
          <a:solidFill>
            <a:schemeClr val="accent1">
              <a:alpha val="25000"/>
            </a:schemeClr>
          </a:solidFill>
          <a:ln>
            <a:noFill/>
          </a:ln>
        </p:spPr>
        <p:txBody>
          <a:bodyPr lIns="0" tIns="0" rIns="0" bIns="0"/>
          <a:lstStyle/>
          <a:p>
            <a:endParaRPr lang="es-ES">
              <a:solidFill>
                <a:srgbClr val="003245"/>
              </a:solidFill>
            </a:endParaRPr>
          </a:p>
        </p:txBody>
      </p:sp>
      <p:sp>
        <p:nvSpPr>
          <p:cNvPr id="12" name="AutoShape 1"/>
          <p:cNvSpPr>
            <a:spLocks noChangeAspect="1"/>
          </p:cNvSpPr>
          <p:nvPr userDrawn="1"/>
        </p:nvSpPr>
        <p:spPr bwMode="auto">
          <a:xfrm>
            <a:off x="6184751" y="476250"/>
            <a:ext cx="2701308" cy="423427"/>
          </a:xfrm>
          <a:custGeom>
            <a:avLst/>
            <a:gdLst>
              <a:gd name="T0" fmla="*/ 2458 w 21600"/>
              <a:gd name="T1" fmla="*/ 2391 h 21600"/>
              <a:gd name="T2" fmla="*/ 2237 w 21600"/>
              <a:gd name="T3" fmla="*/ 15634 h 21600"/>
              <a:gd name="T4" fmla="*/ 0 w 21600"/>
              <a:gd name="T5" fmla="*/ 18315 h 21600"/>
              <a:gd name="T6" fmla="*/ 1376 w 21600"/>
              <a:gd name="T7" fmla="*/ 341 h 21600"/>
              <a:gd name="T8" fmla="*/ 971 w 21600"/>
              <a:gd name="T9" fmla="*/ 15319 h 21600"/>
              <a:gd name="T10" fmla="*/ 2028 w 21600"/>
              <a:gd name="T11" fmla="*/ 7436 h 21600"/>
              <a:gd name="T12" fmla="*/ 1359 w 21600"/>
              <a:gd name="T13" fmla="*/ 3337 h 21600"/>
              <a:gd name="T14" fmla="*/ 750 w 21600"/>
              <a:gd name="T15" fmla="*/ 15319 h 21600"/>
              <a:gd name="T16" fmla="*/ 3591 w 21600"/>
              <a:gd name="T17" fmla="*/ 18315 h 21600"/>
              <a:gd name="T18" fmla="*/ 3438 w 21600"/>
              <a:gd name="T19" fmla="*/ 341 h 21600"/>
              <a:gd name="T20" fmla="*/ 5406 w 21600"/>
              <a:gd name="T21" fmla="*/ 11010 h 21600"/>
              <a:gd name="T22" fmla="*/ 5176 w 21600"/>
              <a:gd name="T23" fmla="*/ 15529 h 21600"/>
              <a:gd name="T24" fmla="*/ 4196 w 21600"/>
              <a:gd name="T25" fmla="*/ 17606 h 21600"/>
              <a:gd name="T26" fmla="*/ 6088 w 21600"/>
              <a:gd name="T27" fmla="*/ 17185 h 21600"/>
              <a:gd name="T28" fmla="*/ 5832 w 21600"/>
              <a:gd name="T29" fmla="*/ 8014 h 21600"/>
              <a:gd name="T30" fmla="*/ 5151 w 21600"/>
              <a:gd name="T31" fmla="*/ 5071 h 21600"/>
              <a:gd name="T32" fmla="*/ 6373 w 21600"/>
              <a:gd name="T33" fmla="*/ 3836 h 21600"/>
              <a:gd name="T34" fmla="*/ 5700 w 21600"/>
              <a:gd name="T35" fmla="*/ 0 h 21600"/>
              <a:gd name="T36" fmla="*/ 4516 w 21600"/>
              <a:gd name="T37" fmla="*/ 5570 h 21600"/>
              <a:gd name="T38" fmla="*/ 5406 w 21600"/>
              <a:gd name="T39" fmla="*/ 11010 h 21600"/>
              <a:gd name="T40" fmla="*/ 8384 w 21600"/>
              <a:gd name="T41" fmla="*/ 0 h 21600"/>
              <a:gd name="T42" fmla="*/ 6787 w 21600"/>
              <a:gd name="T43" fmla="*/ 11562 h 21600"/>
              <a:gd name="T44" fmla="*/ 8708 w 21600"/>
              <a:gd name="T45" fmla="*/ 18131 h 21600"/>
              <a:gd name="T46" fmla="*/ 8137 w 21600"/>
              <a:gd name="T47" fmla="*/ 15504 h 21600"/>
              <a:gd name="T48" fmla="*/ 7473 w 21600"/>
              <a:gd name="T49" fmla="*/ 11324 h 21600"/>
              <a:gd name="T50" fmla="*/ 8431 w 21600"/>
              <a:gd name="T51" fmla="*/ 3179 h 21600"/>
              <a:gd name="T52" fmla="*/ 9194 w 21600"/>
              <a:gd name="T53" fmla="*/ 867 h 21600"/>
              <a:gd name="T54" fmla="*/ 9569 w 21600"/>
              <a:gd name="T55" fmla="*/ 4257 h 21600"/>
              <a:gd name="T56" fmla="*/ 11976 w 21600"/>
              <a:gd name="T57" fmla="*/ 6884 h 21600"/>
              <a:gd name="T58" fmla="*/ 10395 w 21600"/>
              <a:gd name="T59" fmla="*/ 18683 h 21600"/>
              <a:gd name="T60" fmla="*/ 10169 w 21600"/>
              <a:gd name="T61" fmla="*/ 5860 h 21600"/>
              <a:gd name="T62" fmla="*/ 10446 w 21600"/>
              <a:gd name="T63" fmla="*/ 15477 h 21600"/>
              <a:gd name="T64" fmla="*/ 11290 w 21600"/>
              <a:gd name="T65" fmla="*/ 6884 h 21600"/>
              <a:gd name="T66" fmla="*/ 10169 w 21600"/>
              <a:gd name="T67" fmla="*/ 5860 h 21600"/>
              <a:gd name="T68" fmla="*/ 12811 w 21600"/>
              <a:gd name="T69" fmla="*/ 18315 h 21600"/>
              <a:gd name="T70" fmla="*/ 15009 w 21600"/>
              <a:gd name="T71" fmla="*/ 341 h 21600"/>
              <a:gd name="T72" fmla="*/ 13314 w 21600"/>
              <a:gd name="T73" fmla="*/ 13585 h 21600"/>
              <a:gd name="T74" fmla="*/ 12308 w 21600"/>
              <a:gd name="T75" fmla="*/ 341 h 21600"/>
              <a:gd name="T76" fmla="*/ 16726 w 21600"/>
              <a:gd name="T77" fmla="*/ 10747 h 21600"/>
              <a:gd name="T78" fmla="*/ 15815 w 21600"/>
              <a:gd name="T79" fmla="*/ 7673 h 21600"/>
              <a:gd name="T80" fmla="*/ 17191 w 21600"/>
              <a:gd name="T81" fmla="*/ 3311 h 21600"/>
              <a:gd name="T82" fmla="*/ 15359 w 21600"/>
              <a:gd name="T83" fmla="*/ 341 h 21600"/>
              <a:gd name="T84" fmla="*/ 16837 w 21600"/>
              <a:gd name="T85" fmla="*/ 18315 h 21600"/>
              <a:gd name="T86" fmla="*/ 15597 w 21600"/>
              <a:gd name="T87" fmla="*/ 15346 h 21600"/>
              <a:gd name="T88" fmla="*/ 19700 w 21600"/>
              <a:gd name="T89" fmla="*/ 8803 h 21600"/>
              <a:gd name="T90" fmla="*/ 19628 w 21600"/>
              <a:gd name="T91" fmla="*/ 18315 h 21600"/>
              <a:gd name="T92" fmla="*/ 18575 w 21600"/>
              <a:gd name="T93" fmla="*/ 11799 h 21600"/>
              <a:gd name="T94" fmla="*/ 18000 w 21600"/>
              <a:gd name="T95" fmla="*/ 18315 h 21600"/>
              <a:gd name="T96" fmla="*/ 17847 w 21600"/>
              <a:gd name="T97" fmla="*/ 341 h 21600"/>
              <a:gd name="T98" fmla="*/ 19611 w 21600"/>
              <a:gd name="T99" fmla="*/ 1655 h 21600"/>
              <a:gd name="T100" fmla="*/ 19700 w 21600"/>
              <a:gd name="T101" fmla="*/ 8803 h 21600"/>
              <a:gd name="T102" fmla="*/ 18524 w 21600"/>
              <a:gd name="T103" fmla="*/ 8830 h 21600"/>
              <a:gd name="T104" fmla="*/ 19197 w 21600"/>
              <a:gd name="T105" fmla="*/ 5492 h 21600"/>
              <a:gd name="T106" fmla="*/ 18758 w 21600"/>
              <a:gd name="T107" fmla="*/ 3311 h 21600"/>
              <a:gd name="T108" fmla="*/ 18268 w 21600"/>
              <a:gd name="T109" fmla="*/ 8830 h 21600"/>
              <a:gd name="T110" fmla="*/ 21600 w 21600"/>
              <a:gd name="T111" fmla="*/ 19051 h 21600"/>
              <a:gd name="T112" fmla="*/ 19696 w 21600"/>
              <a:gd name="T113" fmla="*/ 21600 h 21600"/>
              <a:gd name="T114" fmla="*/ 21523 w 21600"/>
              <a:gd name="T115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1600" h="21600">
                <a:moveTo>
                  <a:pt x="1376" y="341"/>
                </a:moveTo>
                <a:cubicBezTo>
                  <a:pt x="1811" y="341"/>
                  <a:pt x="2215" y="815"/>
                  <a:pt x="2458" y="2391"/>
                </a:cubicBezTo>
                <a:cubicBezTo>
                  <a:pt x="2650" y="3626"/>
                  <a:pt x="2714" y="5334"/>
                  <a:pt x="2714" y="7357"/>
                </a:cubicBezTo>
                <a:cubicBezTo>
                  <a:pt x="2714" y="10564"/>
                  <a:pt x="2556" y="13612"/>
                  <a:pt x="2237" y="15634"/>
                </a:cubicBezTo>
                <a:cubicBezTo>
                  <a:pt x="1900" y="17764"/>
                  <a:pt x="1431" y="18315"/>
                  <a:pt x="903" y="18315"/>
                </a:cubicBezTo>
                <a:lnTo>
                  <a:pt x="0" y="18315"/>
                </a:lnTo>
                <a:lnTo>
                  <a:pt x="511" y="341"/>
                </a:lnTo>
                <a:lnTo>
                  <a:pt x="1376" y="341"/>
                </a:lnTo>
                <a:close/>
                <a:moveTo>
                  <a:pt x="750" y="15319"/>
                </a:moveTo>
                <a:lnTo>
                  <a:pt x="971" y="15319"/>
                </a:lnTo>
                <a:cubicBezTo>
                  <a:pt x="1333" y="15319"/>
                  <a:pt x="1572" y="14768"/>
                  <a:pt x="1760" y="13112"/>
                </a:cubicBezTo>
                <a:cubicBezTo>
                  <a:pt x="1913" y="11745"/>
                  <a:pt x="2028" y="9669"/>
                  <a:pt x="2028" y="7436"/>
                </a:cubicBezTo>
                <a:cubicBezTo>
                  <a:pt x="2028" y="6070"/>
                  <a:pt x="1985" y="5098"/>
                  <a:pt x="1887" y="4415"/>
                </a:cubicBezTo>
                <a:cubicBezTo>
                  <a:pt x="1785" y="3705"/>
                  <a:pt x="1623" y="3337"/>
                  <a:pt x="1359" y="3337"/>
                </a:cubicBezTo>
                <a:lnTo>
                  <a:pt x="1091" y="3337"/>
                </a:lnTo>
                <a:lnTo>
                  <a:pt x="750" y="15319"/>
                </a:lnTo>
                <a:close/>
                <a:moveTo>
                  <a:pt x="2927" y="18315"/>
                </a:moveTo>
                <a:lnTo>
                  <a:pt x="3591" y="18315"/>
                </a:lnTo>
                <a:lnTo>
                  <a:pt x="4103" y="341"/>
                </a:lnTo>
                <a:lnTo>
                  <a:pt x="3438" y="341"/>
                </a:lnTo>
                <a:lnTo>
                  <a:pt x="2927" y="18315"/>
                </a:lnTo>
                <a:close/>
                <a:moveTo>
                  <a:pt x="5406" y="11010"/>
                </a:moveTo>
                <a:cubicBezTo>
                  <a:pt x="5671" y="11667"/>
                  <a:pt x="5777" y="12298"/>
                  <a:pt x="5777" y="13296"/>
                </a:cubicBezTo>
                <a:cubicBezTo>
                  <a:pt x="5777" y="15083"/>
                  <a:pt x="5449" y="15529"/>
                  <a:pt x="5176" y="15529"/>
                </a:cubicBezTo>
                <a:cubicBezTo>
                  <a:pt x="4895" y="15529"/>
                  <a:pt x="4567" y="15109"/>
                  <a:pt x="4329" y="14558"/>
                </a:cubicBezTo>
                <a:lnTo>
                  <a:pt x="4196" y="17606"/>
                </a:lnTo>
                <a:cubicBezTo>
                  <a:pt x="4524" y="18341"/>
                  <a:pt x="4861" y="18682"/>
                  <a:pt x="5172" y="18682"/>
                </a:cubicBezTo>
                <a:cubicBezTo>
                  <a:pt x="5547" y="18682"/>
                  <a:pt x="5862" y="18183"/>
                  <a:pt x="6088" y="17185"/>
                </a:cubicBezTo>
                <a:cubicBezTo>
                  <a:pt x="6331" y="16108"/>
                  <a:pt x="6425" y="14557"/>
                  <a:pt x="6425" y="12876"/>
                </a:cubicBezTo>
                <a:cubicBezTo>
                  <a:pt x="6425" y="10563"/>
                  <a:pt x="6241" y="9039"/>
                  <a:pt x="5832" y="8014"/>
                </a:cubicBezTo>
                <a:lnTo>
                  <a:pt x="5581" y="7384"/>
                </a:lnTo>
                <a:cubicBezTo>
                  <a:pt x="5244" y="6542"/>
                  <a:pt x="5151" y="5859"/>
                  <a:pt x="5151" y="5071"/>
                </a:cubicBezTo>
                <a:cubicBezTo>
                  <a:pt x="5151" y="3731"/>
                  <a:pt x="5394" y="3153"/>
                  <a:pt x="5700" y="3153"/>
                </a:cubicBezTo>
                <a:cubicBezTo>
                  <a:pt x="5909" y="3153"/>
                  <a:pt x="6143" y="3415"/>
                  <a:pt x="6373" y="3836"/>
                </a:cubicBezTo>
                <a:lnTo>
                  <a:pt x="6540" y="946"/>
                </a:lnTo>
                <a:cubicBezTo>
                  <a:pt x="6250" y="341"/>
                  <a:pt x="5986" y="0"/>
                  <a:pt x="5700" y="0"/>
                </a:cubicBezTo>
                <a:cubicBezTo>
                  <a:pt x="5368" y="0"/>
                  <a:pt x="5074" y="473"/>
                  <a:pt x="4870" y="1340"/>
                </a:cubicBezTo>
                <a:cubicBezTo>
                  <a:pt x="4644" y="2285"/>
                  <a:pt x="4516" y="3758"/>
                  <a:pt x="4516" y="5570"/>
                </a:cubicBezTo>
                <a:cubicBezTo>
                  <a:pt x="4516" y="7830"/>
                  <a:pt x="4716" y="9276"/>
                  <a:pt x="5155" y="10379"/>
                </a:cubicBezTo>
                <a:lnTo>
                  <a:pt x="5406" y="11010"/>
                </a:lnTo>
                <a:close/>
                <a:moveTo>
                  <a:pt x="9194" y="867"/>
                </a:moveTo>
                <a:cubicBezTo>
                  <a:pt x="8947" y="368"/>
                  <a:pt x="8678" y="0"/>
                  <a:pt x="8384" y="0"/>
                </a:cubicBezTo>
                <a:cubicBezTo>
                  <a:pt x="7988" y="0"/>
                  <a:pt x="7601" y="605"/>
                  <a:pt x="7298" y="2602"/>
                </a:cubicBezTo>
                <a:cubicBezTo>
                  <a:pt x="6949" y="4914"/>
                  <a:pt x="6787" y="8592"/>
                  <a:pt x="6787" y="11562"/>
                </a:cubicBezTo>
                <a:cubicBezTo>
                  <a:pt x="6787" y="16423"/>
                  <a:pt x="7204" y="18683"/>
                  <a:pt x="7988" y="18683"/>
                </a:cubicBezTo>
                <a:cubicBezTo>
                  <a:pt x="8244" y="18683"/>
                  <a:pt x="8525" y="18446"/>
                  <a:pt x="8708" y="18131"/>
                </a:cubicBezTo>
                <a:lnTo>
                  <a:pt x="8725" y="15135"/>
                </a:lnTo>
                <a:cubicBezTo>
                  <a:pt x="8546" y="15346"/>
                  <a:pt x="8320" y="15504"/>
                  <a:pt x="8137" y="15504"/>
                </a:cubicBezTo>
                <a:cubicBezTo>
                  <a:pt x="7903" y="15504"/>
                  <a:pt x="7711" y="15240"/>
                  <a:pt x="7596" y="14294"/>
                </a:cubicBezTo>
                <a:cubicBezTo>
                  <a:pt x="7502" y="13532"/>
                  <a:pt x="7473" y="12429"/>
                  <a:pt x="7473" y="11324"/>
                </a:cubicBezTo>
                <a:cubicBezTo>
                  <a:pt x="7473" y="9224"/>
                  <a:pt x="7583" y="6884"/>
                  <a:pt x="7733" y="5440"/>
                </a:cubicBezTo>
                <a:cubicBezTo>
                  <a:pt x="7916" y="3652"/>
                  <a:pt x="8163" y="3179"/>
                  <a:pt x="8431" y="3179"/>
                </a:cubicBezTo>
                <a:cubicBezTo>
                  <a:pt x="8644" y="3179"/>
                  <a:pt x="8849" y="3469"/>
                  <a:pt x="9028" y="3784"/>
                </a:cubicBezTo>
                <a:lnTo>
                  <a:pt x="9194" y="867"/>
                </a:lnTo>
                <a:close/>
                <a:moveTo>
                  <a:pt x="9262" y="11799"/>
                </a:moveTo>
                <a:cubicBezTo>
                  <a:pt x="9262" y="9039"/>
                  <a:pt x="9373" y="6333"/>
                  <a:pt x="9569" y="4257"/>
                </a:cubicBezTo>
                <a:cubicBezTo>
                  <a:pt x="9833" y="1472"/>
                  <a:pt x="10255" y="0"/>
                  <a:pt x="10843" y="0"/>
                </a:cubicBezTo>
                <a:cubicBezTo>
                  <a:pt x="11516" y="0"/>
                  <a:pt x="11976" y="2181"/>
                  <a:pt x="11976" y="6884"/>
                </a:cubicBezTo>
                <a:cubicBezTo>
                  <a:pt x="11976" y="9644"/>
                  <a:pt x="11865" y="12350"/>
                  <a:pt x="11669" y="14426"/>
                </a:cubicBezTo>
                <a:cubicBezTo>
                  <a:pt x="11405" y="17211"/>
                  <a:pt x="10983" y="18683"/>
                  <a:pt x="10395" y="18683"/>
                </a:cubicBezTo>
                <a:cubicBezTo>
                  <a:pt x="9722" y="18683"/>
                  <a:pt x="9262" y="16502"/>
                  <a:pt x="9262" y="11799"/>
                </a:cubicBezTo>
                <a:moveTo>
                  <a:pt x="10169" y="5860"/>
                </a:moveTo>
                <a:cubicBezTo>
                  <a:pt x="10029" y="7516"/>
                  <a:pt x="9948" y="9670"/>
                  <a:pt x="9948" y="11799"/>
                </a:cubicBezTo>
                <a:cubicBezTo>
                  <a:pt x="9948" y="14505"/>
                  <a:pt x="10148" y="15477"/>
                  <a:pt x="10446" y="15477"/>
                </a:cubicBezTo>
                <a:cubicBezTo>
                  <a:pt x="10727" y="15477"/>
                  <a:pt x="10928" y="14452"/>
                  <a:pt x="11068" y="12823"/>
                </a:cubicBezTo>
                <a:cubicBezTo>
                  <a:pt x="11209" y="11167"/>
                  <a:pt x="11290" y="9013"/>
                  <a:pt x="11290" y="6884"/>
                </a:cubicBezTo>
                <a:cubicBezTo>
                  <a:pt x="11290" y="4178"/>
                  <a:pt x="11090" y="3206"/>
                  <a:pt x="10791" y="3206"/>
                </a:cubicBezTo>
                <a:cubicBezTo>
                  <a:pt x="10510" y="3206"/>
                  <a:pt x="10310" y="4231"/>
                  <a:pt x="10169" y="5860"/>
                </a:cubicBezTo>
                <a:moveTo>
                  <a:pt x="12308" y="341"/>
                </a:moveTo>
                <a:lnTo>
                  <a:pt x="12811" y="18315"/>
                </a:lnTo>
                <a:lnTo>
                  <a:pt x="13531" y="18315"/>
                </a:lnTo>
                <a:lnTo>
                  <a:pt x="15009" y="341"/>
                </a:lnTo>
                <a:lnTo>
                  <a:pt x="14328" y="341"/>
                </a:lnTo>
                <a:lnTo>
                  <a:pt x="13314" y="13585"/>
                </a:lnTo>
                <a:lnTo>
                  <a:pt x="12994" y="341"/>
                </a:lnTo>
                <a:lnTo>
                  <a:pt x="12308" y="341"/>
                </a:lnTo>
                <a:close/>
                <a:moveTo>
                  <a:pt x="15725" y="10747"/>
                </a:moveTo>
                <a:lnTo>
                  <a:pt x="16726" y="10747"/>
                </a:lnTo>
                <a:lnTo>
                  <a:pt x="16815" y="7673"/>
                </a:lnTo>
                <a:lnTo>
                  <a:pt x="15815" y="7673"/>
                </a:lnTo>
                <a:lnTo>
                  <a:pt x="15938" y="3311"/>
                </a:lnTo>
                <a:lnTo>
                  <a:pt x="17191" y="3311"/>
                </a:lnTo>
                <a:lnTo>
                  <a:pt x="17327" y="341"/>
                </a:lnTo>
                <a:lnTo>
                  <a:pt x="15359" y="341"/>
                </a:lnTo>
                <a:lnTo>
                  <a:pt x="14847" y="18315"/>
                </a:lnTo>
                <a:lnTo>
                  <a:pt x="16837" y="18315"/>
                </a:lnTo>
                <a:lnTo>
                  <a:pt x="16918" y="15346"/>
                </a:lnTo>
                <a:lnTo>
                  <a:pt x="15597" y="15346"/>
                </a:lnTo>
                <a:lnTo>
                  <a:pt x="15725" y="10747"/>
                </a:lnTo>
                <a:close/>
                <a:moveTo>
                  <a:pt x="19700" y="8803"/>
                </a:moveTo>
                <a:cubicBezTo>
                  <a:pt x="19589" y="9748"/>
                  <a:pt x="19410" y="10537"/>
                  <a:pt x="19176" y="11115"/>
                </a:cubicBezTo>
                <a:lnTo>
                  <a:pt x="19628" y="18315"/>
                </a:lnTo>
                <a:lnTo>
                  <a:pt x="18916" y="18315"/>
                </a:lnTo>
                <a:lnTo>
                  <a:pt x="18575" y="11799"/>
                </a:lnTo>
                <a:lnTo>
                  <a:pt x="18183" y="11799"/>
                </a:lnTo>
                <a:lnTo>
                  <a:pt x="18000" y="18315"/>
                </a:lnTo>
                <a:lnTo>
                  <a:pt x="17336" y="18315"/>
                </a:lnTo>
                <a:lnTo>
                  <a:pt x="17847" y="341"/>
                </a:lnTo>
                <a:lnTo>
                  <a:pt x="18839" y="341"/>
                </a:lnTo>
                <a:cubicBezTo>
                  <a:pt x="19201" y="341"/>
                  <a:pt x="19453" y="815"/>
                  <a:pt x="19611" y="1655"/>
                </a:cubicBezTo>
                <a:cubicBezTo>
                  <a:pt x="19785" y="2575"/>
                  <a:pt x="19858" y="3915"/>
                  <a:pt x="19858" y="5466"/>
                </a:cubicBezTo>
                <a:cubicBezTo>
                  <a:pt x="19858" y="6753"/>
                  <a:pt x="19806" y="7883"/>
                  <a:pt x="19700" y="8803"/>
                </a:cubicBezTo>
                <a:moveTo>
                  <a:pt x="18268" y="8830"/>
                </a:moveTo>
                <a:lnTo>
                  <a:pt x="18524" y="8830"/>
                </a:lnTo>
                <a:cubicBezTo>
                  <a:pt x="18729" y="8830"/>
                  <a:pt x="18912" y="8592"/>
                  <a:pt x="19035" y="7883"/>
                </a:cubicBezTo>
                <a:cubicBezTo>
                  <a:pt x="19133" y="7331"/>
                  <a:pt x="19197" y="6437"/>
                  <a:pt x="19197" y="5492"/>
                </a:cubicBezTo>
                <a:cubicBezTo>
                  <a:pt x="19197" y="4887"/>
                  <a:pt x="19172" y="4336"/>
                  <a:pt x="19112" y="3968"/>
                </a:cubicBezTo>
                <a:cubicBezTo>
                  <a:pt x="19044" y="3548"/>
                  <a:pt x="18937" y="3311"/>
                  <a:pt x="18758" y="3311"/>
                </a:cubicBezTo>
                <a:lnTo>
                  <a:pt x="18426" y="3311"/>
                </a:lnTo>
                <a:lnTo>
                  <a:pt x="18268" y="8830"/>
                </a:lnTo>
                <a:close/>
                <a:moveTo>
                  <a:pt x="21523" y="21600"/>
                </a:moveTo>
                <a:lnTo>
                  <a:pt x="21600" y="19051"/>
                </a:lnTo>
                <a:lnTo>
                  <a:pt x="19772" y="19051"/>
                </a:lnTo>
                <a:lnTo>
                  <a:pt x="19696" y="21600"/>
                </a:lnTo>
                <a:lnTo>
                  <a:pt x="21523" y="21600"/>
                </a:lnTo>
                <a:close/>
                <a:moveTo>
                  <a:pt x="21523" y="21600"/>
                </a:moveTo>
              </a:path>
            </a:pathLst>
          </a:custGeom>
          <a:solidFill>
            <a:schemeClr val="accent1">
              <a:alpha val="60000"/>
            </a:schemeClr>
          </a:solidFill>
          <a:ln>
            <a:noFill/>
          </a:ln>
        </p:spPr>
        <p:txBody>
          <a:bodyPr lIns="0" tIns="0" rIns="0" bIns="0"/>
          <a:lstStyle/>
          <a:p>
            <a:endParaRPr lang="es-ES">
              <a:solidFill>
                <a:srgbClr val="003245"/>
              </a:solidFill>
            </a:endParaRPr>
          </a:p>
        </p:txBody>
      </p:sp>
      <p:grpSp>
        <p:nvGrpSpPr>
          <p:cNvPr id="15" name="Grupo 14"/>
          <p:cNvGrpSpPr/>
          <p:nvPr userDrawn="1"/>
        </p:nvGrpSpPr>
        <p:grpSpPr>
          <a:xfrm>
            <a:off x="58864" y="6464175"/>
            <a:ext cx="2103461" cy="359735"/>
            <a:chOff x="58864" y="6464175"/>
            <a:chExt cx="2103461" cy="359735"/>
          </a:xfrm>
        </p:grpSpPr>
        <p:grpSp>
          <p:nvGrpSpPr>
            <p:cNvPr id="16" name="Group 4"/>
            <p:cNvGrpSpPr>
              <a:grpSpLocks/>
            </p:cNvGrpSpPr>
            <p:nvPr userDrawn="1"/>
          </p:nvGrpSpPr>
          <p:grpSpPr bwMode="auto">
            <a:xfrm>
              <a:off x="179512" y="6464175"/>
              <a:ext cx="888250" cy="136799"/>
              <a:chOff x="-14" y="12"/>
              <a:chExt cx="605" cy="99"/>
            </a:xfrm>
          </p:grpSpPr>
          <p:sp>
            <p:nvSpPr>
              <p:cNvPr id="22" name="AutoShape 2"/>
              <p:cNvSpPr>
                <a:spLocks/>
              </p:cNvSpPr>
              <p:nvPr/>
            </p:nvSpPr>
            <p:spPr bwMode="auto">
              <a:xfrm>
                <a:off x="-14" y="12"/>
                <a:ext cx="546" cy="96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w 21600"/>
                  <a:gd name="T13" fmla="*/ 0 h 21600"/>
                  <a:gd name="T14" fmla="*/ 0 w 21600"/>
                  <a:gd name="T15" fmla="*/ 0 h 21600"/>
                  <a:gd name="T16" fmla="*/ 0 w 21600"/>
                  <a:gd name="T17" fmla="*/ 0 h 21600"/>
                  <a:gd name="T18" fmla="*/ 0 w 21600"/>
                  <a:gd name="T19" fmla="*/ 0 h 21600"/>
                  <a:gd name="T20" fmla="*/ 0 w 21600"/>
                  <a:gd name="T21" fmla="*/ 0 h 21600"/>
                  <a:gd name="T22" fmla="*/ 0 w 21600"/>
                  <a:gd name="T23" fmla="*/ 0 h 21600"/>
                  <a:gd name="T24" fmla="*/ 0 w 21600"/>
                  <a:gd name="T25" fmla="*/ 0 h 21600"/>
                  <a:gd name="T26" fmla="*/ 0 w 21600"/>
                  <a:gd name="T27" fmla="*/ 0 h 21600"/>
                  <a:gd name="T28" fmla="*/ 0 w 21600"/>
                  <a:gd name="T29" fmla="*/ 0 h 21600"/>
                  <a:gd name="T30" fmla="*/ 0 w 21600"/>
                  <a:gd name="T31" fmla="*/ 0 h 21600"/>
                  <a:gd name="T32" fmla="*/ 0 w 21600"/>
                  <a:gd name="T33" fmla="*/ 0 h 21600"/>
                  <a:gd name="T34" fmla="*/ 0 w 21600"/>
                  <a:gd name="T35" fmla="*/ 0 h 21600"/>
                  <a:gd name="T36" fmla="*/ 0 w 21600"/>
                  <a:gd name="T37" fmla="*/ 0 h 21600"/>
                  <a:gd name="T38" fmla="*/ 0 w 21600"/>
                  <a:gd name="T39" fmla="*/ 0 h 21600"/>
                  <a:gd name="T40" fmla="*/ 0 w 21600"/>
                  <a:gd name="T41" fmla="*/ 0 h 21600"/>
                  <a:gd name="T42" fmla="*/ 0 w 21600"/>
                  <a:gd name="T43" fmla="*/ 0 h 21600"/>
                  <a:gd name="T44" fmla="*/ 0 w 21600"/>
                  <a:gd name="T45" fmla="*/ 0 h 21600"/>
                  <a:gd name="T46" fmla="*/ 0 w 21600"/>
                  <a:gd name="T47" fmla="*/ 0 h 21600"/>
                  <a:gd name="T48" fmla="*/ 0 w 21600"/>
                  <a:gd name="T49" fmla="*/ 0 h 21600"/>
                  <a:gd name="T50" fmla="*/ 0 w 21600"/>
                  <a:gd name="T51" fmla="*/ 0 h 21600"/>
                  <a:gd name="T52" fmla="*/ 0 w 21600"/>
                  <a:gd name="T53" fmla="*/ 0 h 21600"/>
                  <a:gd name="T54" fmla="*/ 0 w 21600"/>
                  <a:gd name="T55" fmla="*/ 0 h 21600"/>
                  <a:gd name="T56" fmla="*/ 0 w 21600"/>
                  <a:gd name="T57" fmla="*/ 0 h 21600"/>
                  <a:gd name="T58" fmla="*/ 0 w 21600"/>
                  <a:gd name="T59" fmla="*/ 0 h 21600"/>
                  <a:gd name="T60" fmla="*/ 0 w 21600"/>
                  <a:gd name="T61" fmla="*/ 0 h 21600"/>
                  <a:gd name="T62" fmla="*/ 0 w 21600"/>
                  <a:gd name="T63" fmla="*/ 0 h 21600"/>
                  <a:gd name="T64" fmla="*/ 0 w 21600"/>
                  <a:gd name="T65" fmla="*/ 0 h 21600"/>
                  <a:gd name="T66" fmla="*/ 0 w 21600"/>
                  <a:gd name="T67" fmla="*/ 0 h 21600"/>
                  <a:gd name="T68" fmla="*/ 0 w 21600"/>
                  <a:gd name="T69" fmla="*/ 0 h 21600"/>
                  <a:gd name="T70" fmla="*/ 0 w 21600"/>
                  <a:gd name="T71" fmla="*/ 0 h 21600"/>
                  <a:gd name="T72" fmla="*/ 0 w 21600"/>
                  <a:gd name="T73" fmla="*/ 0 h 21600"/>
                  <a:gd name="T74" fmla="*/ 0 w 21600"/>
                  <a:gd name="T75" fmla="*/ 0 h 21600"/>
                  <a:gd name="T76" fmla="*/ 0 w 21600"/>
                  <a:gd name="T77" fmla="*/ 0 h 21600"/>
                  <a:gd name="T78" fmla="*/ 0 w 21600"/>
                  <a:gd name="T79" fmla="*/ 0 h 21600"/>
                  <a:gd name="T80" fmla="*/ 0 w 21600"/>
                  <a:gd name="T81" fmla="*/ 0 h 21600"/>
                  <a:gd name="T82" fmla="*/ 0 w 21600"/>
                  <a:gd name="T83" fmla="*/ 0 h 21600"/>
                  <a:gd name="T84" fmla="*/ 0 w 21600"/>
                  <a:gd name="T85" fmla="*/ 0 h 21600"/>
                  <a:gd name="T86" fmla="*/ 0 w 21600"/>
                  <a:gd name="T87" fmla="*/ 0 h 21600"/>
                  <a:gd name="T88" fmla="*/ 0 w 21600"/>
                  <a:gd name="T89" fmla="*/ 0 h 21600"/>
                  <a:gd name="T90" fmla="*/ 0 w 21600"/>
                  <a:gd name="T91" fmla="*/ 0 h 21600"/>
                  <a:gd name="T92" fmla="*/ 0 w 21600"/>
                  <a:gd name="T93" fmla="*/ 0 h 21600"/>
                  <a:gd name="T94" fmla="*/ 0 w 21600"/>
                  <a:gd name="T95" fmla="*/ 0 h 21600"/>
                  <a:gd name="T96" fmla="*/ 0 w 21600"/>
                  <a:gd name="T97" fmla="*/ 0 h 21600"/>
                  <a:gd name="T98" fmla="*/ 0 w 21600"/>
                  <a:gd name="T99" fmla="*/ 0 h 21600"/>
                  <a:gd name="T100" fmla="*/ 0 w 21600"/>
                  <a:gd name="T101" fmla="*/ 0 h 21600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21600" h="21600">
                    <a:moveTo>
                      <a:pt x="2236" y="9904"/>
                    </a:moveTo>
                    <a:cubicBezTo>
                      <a:pt x="2490" y="10359"/>
                      <a:pt x="2636" y="10997"/>
                      <a:pt x="2734" y="11787"/>
                    </a:cubicBezTo>
                    <a:cubicBezTo>
                      <a:pt x="2833" y="12577"/>
                      <a:pt x="2864" y="13428"/>
                      <a:pt x="2864" y="14460"/>
                    </a:cubicBezTo>
                    <a:cubicBezTo>
                      <a:pt x="2864" y="16952"/>
                      <a:pt x="2688" y="18501"/>
                      <a:pt x="2444" y="19473"/>
                    </a:cubicBezTo>
                    <a:cubicBezTo>
                      <a:pt x="2174" y="20567"/>
                      <a:pt x="1764" y="21175"/>
                      <a:pt x="1105" y="21175"/>
                    </a:cubicBezTo>
                    <a:lnTo>
                      <a:pt x="0" y="21175"/>
                    </a:lnTo>
                    <a:lnTo>
                      <a:pt x="623" y="395"/>
                    </a:lnTo>
                    <a:lnTo>
                      <a:pt x="1717" y="395"/>
                    </a:lnTo>
                    <a:cubicBezTo>
                      <a:pt x="2226" y="395"/>
                      <a:pt x="2480" y="942"/>
                      <a:pt x="2636" y="1671"/>
                    </a:cubicBezTo>
                    <a:cubicBezTo>
                      <a:pt x="2823" y="2552"/>
                      <a:pt x="2885" y="3797"/>
                      <a:pt x="2885" y="4982"/>
                    </a:cubicBezTo>
                    <a:cubicBezTo>
                      <a:pt x="2885" y="7017"/>
                      <a:pt x="2703" y="8871"/>
                      <a:pt x="2236" y="9904"/>
                    </a:cubicBezTo>
                    <a:close/>
                    <a:moveTo>
                      <a:pt x="908" y="17742"/>
                    </a:moveTo>
                    <a:lnTo>
                      <a:pt x="1188" y="17742"/>
                    </a:lnTo>
                    <a:cubicBezTo>
                      <a:pt x="1484" y="17742"/>
                      <a:pt x="1645" y="17529"/>
                      <a:pt x="1775" y="17134"/>
                    </a:cubicBezTo>
                    <a:cubicBezTo>
                      <a:pt x="1920" y="16679"/>
                      <a:pt x="2039" y="15919"/>
                      <a:pt x="2039" y="14643"/>
                    </a:cubicBezTo>
                    <a:cubicBezTo>
                      <a:pt x="2039" y="13792"/>
                      <a:pt x="1987" y="13155"/>
                      <a:pt x="1899" y="12760"/>
                    </a:cubicBezTo>
                    <a:cubicBezTo>
                      <a:pt x="1800" y="12304"/>
                      <a:pt x="1650" y="12091"/>
                      <a:pt x="1437" y="12091"/>
                    </a:cubicBezTo>
                    <a:lnTo>
                      <a:pt x="1079" y="12091"/>
                    </a:lnTo>
                    <a:lnTo>
                      <a:pt x="908" y="17742"/>
                    </a:lnTo>
                    <a:close/>
                    <a:moveTo>
                      <a:pt x="1183" y="8658"/>
                    </a:moveTo>
                    <a:lnTo>
                      <a:pt x="1365" y="8658"/>
                    </a:lnTo>
                    <a:cubicBezTo>
                      <a:pt x="1645" y="8658"/>
                      <a:pt x="1800" y="8324"/>
                      <a:pt x="1909" y="7838"/>
                    </a:cubicBezTo>
                    <a:cubicBezTo>
                      <a:pt x="2018" y="7352"/>
                      <a:pt x="2081" y="6623"/>
                      <a:pt x="2081" y="5742"/>
                    </a:cubicBezTo>
                    <a:cubicBezTo>
                      <a:pt x="2081" y="5134"/>
                      <a:pt x="2055" y="4739"/>
                      <a:pt x="1998" y="4405"/>
                    </a:cubicBezTo>
                    <a:cubicBezTo>
                      <a:pt x="1935" y="4071"/>
                      <a:pt x="1831" y="3828"/>
                      <a:pt x="1603" y="3828"/>
                    </a:cubicBezTo>
                    <a:lnTo>
                      <a:pt x="1328" y="3828"/>
                    </a:lnTo>
                    <a:lnTo>
                      <a:pt x="1183" y="8658"/>
                    </a:lnTo>
                    <a:close/>
                    <a:moveTo>
                      <a:pt x="4140" y="17742"/>
                    </a:moveTo>
                    <a:lnTo>
                      <a:pt x="5749" y="17742"/>
                    </a:lnTo>
                    <a:lnTo>
                      <a:pt x="5650" y="21175"/>
                    </a:lnTo>
                    <a:lnTo>
                      <a:pt x="3227" y="21175"/>
                    </a:lnTo>
                    <a:lnTo>
                      <a:pt x="3850" y="395"/>
                    </a:lnTo>
                    <a:lnTo>
                      <a:pt x="6247" y="395"/>
                    </a:lnTo>
                    <a:lnTo>
                      <a:pt x="6081" y="3828"/>
                    </a:lnTo>
                    <a:lnTo>
                      <a:pt x="4556" y="3828"/>
                    </a:lnTo>
                    <a:lnTo>
                      <a:pt x="4405" y="8871"/>
                    </a:lnTo>
                    <a:lnTo>
                      <a:pt x="5624" y="8871"/>
                    </a:lnTo>
                    <a:lnTo>
                      <a:pt x="5515" y="12425"/>
                    </a:lnTo>
                    <a:lnTo>
                      <a:pt x="4296" y="12425"/>
                    </a:lnTo>
                    <a:lnTo>
                      <a:pt x="4140" y="17742"/>
                    </a:lnTo>
                    <a:close/>
                    <a:moveTo>
                      <a:pt x="8540" y="395"/>
                    </a:moveTo>
                    <a:lnTo>
                      <a:pt x="9298" y="11878"/>
                    </a:lnTo>
                    <a:lnTo>
                      <a:pt x="10792" y="395"/>
                    </a:lnTo>
                    <a:lnTo>
                      <a:pt x="11456" y="395"/>
                    </a:lnTo>
                    <a:lnTo>
                      <a:pt x="10834" y="21175"/>
                    </a:lnTo>
                    <a:lnTo>
                      <a:pt x="10092" y="21175"/>
                    </a:lnTo>
                    <a:lnTo>
                      <a:pt x="10450" y="9053"/>
                    </a:lnTo>
                    <a:lnTo>
                      <a:pt x="9495" y="16436"/>
                    </a:lnTo>
                    <a:lnTo>
                      <a:pt x="8872" y="16436"/>
                    </a:lnTo>
                    <a:lnTo>
                      <a:pt x="8354" y="8658"/>
                    </a:lnTo>
                    <a:lnTo>
                      <a:pt x="7975" y="21175"/>
                    </a:lnTo>
                    <a:lnTo>
                      <a:pt x="7295" y="21175"/>
                    </a:lnTo>
                    <a:lnTo>
                      <a:pt x="7918" y="395"/>
                    </a:lnTo>
                    <a:lnTo>
                      <a:pt x="8540" y="395"/>
                    </a:lnTo>
                    <a:close/>
                    <a:moveTo>
                      <a:pt x="11685" y="13640"/>
                    </a:moveTo>
                    <a:cubicBezTo>
                      <a:pt x="11685" y="10451"/>
                      <a:pt x="11820" y="7321"/>
                      <a:pt x="12058" y="4921"/>
                    </a:cubicBezTo>
                    <a:cubicBezTo>
                      <a:pt x="12380" y="1701"/>
                      <a:pt x="12893" y="0"/>
                      <a:pt x="13610" y="0"/>
                    </a:cubicBezTo>
                    <a:cubicBezTo>
                      <a:pt x="14429" y="0"/>
                      <a:pt x="14990" y="2521"/>
                      <a:pt x="14990" y="7959"/>
                    </a:cubicBezTo>
                    <a:cubicBezTo>
                      <a:pt x="14990" y="11149"/>
                      <a:pt x="14855" y="14278"/>
                      <a:pt x="14616" y="16678"/>
                    </a:cubicBezTo>
                    <a:cubicBezTo>
                      <a:pt x="14295" y="19899"/>
                      <a:pt x="13781" y="21600"/>
                      <a:pt x="13065" y="21600"/>
                    </a:cubicBezTo>
                    <a:cubicBezTo>
                      <a:pt x="12245" y="21600"/>
                      <a:pt x="11685" y="19078"/>
                      <a:pt x="11685" y="13640"/>
                    </a:cubicBezTo>
                    <a:close/>
                    <a:moveTo>
                      <a:pt x="12790" y="6775"/>
                    </a:moveTo>
                    <a:cubicBezTo>
                      <a:pt x="12619" y="8688"/>
                      <a:pt x="12520" y="11180"/>
                      <a:pt x="12520" y="13640"/>
                    </a:cubicBezTo>
                    <a:cubicBezTo>
                      <a:pt x="12520" y="16770"/>
                      <a:pt x="12764" y="17894"/>
                      <a:pt x="13127" y="17894"/>
                    </a:cubicBezTo>
                    <a:cubicBezTo>
                      <a:pt x="13469" y="17894"/>
                      <a:pt x="13713" y="16709"/>
                      <a:pt x="13885" y="14825"/>
                    </a:cubicBezTo>
                    <a:cubicBezTo>
                      <a:pt x="14056" y="12912"/>
                      <a:pt x="14154" y="10420"/>
                      <a:pt x="14154" y="7960"/>
                    </a:cubicBezTo>
                    <a:cubicBezTo>
                      <a:pt x="14154" y="4830"/>
                      <a:pt x="13911" y="3706"/>
                      <a:pt x="13547" y="3706"/>
                    </a:cubicBezTo>
                    <a:cubicBezTo>
                      <a:pt x="13205" y="3706"/>
                      <a:pt x="12961" y="4891"/>
                      <a:pt x="12790" y="6775"/>
                    </a:cubicBezTo>
                    <a:close/>
                    <a:moveTo>
                      <a:pt x="18098" y="10177"/>
                    </a:moveTo>
                    <a:cubicBezTo>
                      <a:pt x="17963" y="11271"/>
                      <a:pt x="17745" y="12182"/>
                      <a:pt x="17459" y="12851"/>
                    </a:cubicBezTo>
                    <a:lnTo>
                      <a:pt x="18009" y="21175"/>
                    </a:lnTo>
                    <a:lnTo>
                      <a:pt x="17143" y="21175"/>
                    </a:lnTo>
                    <a:lnTo>
                      <a:pt x="16728" y="13641"/>
                    </a:lnTo>
                    <a:lnTo>
                      <a:pt x="16251" y="13641"/>
                    </a:lnTo>
                    <a:lnTo>
                      <a:pt x="16027" y="21175"/>
                    </a:lnTo>
                    <a:lnTo>
                      <a:pt x="15218" y="21175"/>
                    </a:lnTo>
                    <a:lnTo>
                      <a:pt x="15841" y="395"/>
                    </a:lnTo>
                    <a:lnTo>
                      <a:pt x="17050" y="395"/>
                    </a:lnTo>
                    <a:cubicBezTo>
                      <a:pt x="17491" y="395"/>
                      <a:pt x="17797" y="942"/>
                      <a:pt x="17989" y="1914"/>
                    </a:cubicBezTo>
                    <a:cubicBezTo>
                      <a:pt x="18202" y="2977"/>
                      <a:pt x="18290" y="4526"/>
                      <a:pt x="18290" y="6319"/>
                    </a:cubicBezTo>
                    <a:cubicBezTo>
                      <a:pt x="18290" y="7807"/>
                      <a:pt x="18227" y="9114"/>
                      <a:pt x="18098" y="10177"/>
                    </a:cubicBezTo>
                    <a:close/>
                    <a:moveTo>
                      <a:pt x="16354" y="10208"/>
                    </a:moveTo>
                    <a:lnTo>
                      <a:pt x="16666" y="10208"/>
                    </a:lnTo>
                    <a:cubicBezTo>
                      <a:pt x="16915" y="10208"/>
                      <a:pt x="17138" y="9934"/>
                      <a:pt x="17288" y="9114"/>
                    </a:cubicBezTo>
                    <a:cubicBezTo>
                      <a:pt x="17408" y="8476"/>
                      <a:pt x="17486" y="7443"/>
                      <a:pt x="17486" y="6349"/>
                    </a:cubicBezTo>
                    <a:cubicBezTo>
                      <a:pt x="17486" y="5651"/>
                      <a:pt x="17454" y="5012"/>
                      <a:pt x="17382" y="4587"/>
                    </a:cubicBezTo>
                    <a:cubicBezTo>
                      <a:pt x="17299" y="4101"/>
                      <a:pt x="17169" y="3828"/>
                      <a:pt x="16951" y="3828"/>
                    </a:cubicBezTo>
                    <a:lnTo>
                      <a:pt x="16546" y="3828"/>
                    </a:lnTo>
                    <a:lnTo>
                      <a:pt x="16354" y="10208"/>
                    </a:lnTo>
                    <a:close/>
                    <a:moveTo>
                      <a:pt x="19493" y="17742"/>
                    </a:moveTo>
                    <a:lnTo>
                      <a:pt x="21102" y="17742"/>
                    </a:lnTo>
                    <a:lnTo>
                      <a:pt x="21003" y="21175"/>
                    </a:lnTo>
                    <a:lnTo>
                      <a:pt x="18580" y="21175"/>
                    </a:lnTo>
                    <a:lnTo>
                      <a:pt x="19203" y="395"/>
                    </a:lnTo>
                    <a:lnTo>
                      <a:pt x="21600" y="395"/>
                    </a:lnTo>
                    <a:lnTo>
                      <a:pt x="21434" y="3828"/>
                    </a:lnTo>
                    <a:lnTo>
                      <a:pt x="19909" y="3828"/>
                    </a:lnTo>
                    <a:lnTo>
                      <a:pt x="19758" y="8871"/>
                    </a:lnTo>
                    <a:lnTo>
                      <a:pt x="20977" y="8871"/>
                    </a:lnTo>
                    <a:lnTo>
                      <a:pt x="20868" y="12425"/>
                    </a:lnTo>
                    <a:lnTo>
                      <a:pt x="19649" y="12425"/>
                    </a:lnTo>
                    <a:lnTo>
                      <a:pt x="19493" y="17742"/>
                    </a:lnTo>
                    <a:close/>
                    <a:moveTo>
                      <a:pt x="19493" y="17742"/>
                    </a:move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 cap="flat">
                    <a:solidFill>
                      <a:srgbClr val="000000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en-GB"/>
              </a:p>
            </p:txBody>
          </p:sp>
          <p:sp>
            <p:nvSpPr>
              <p:cNvPr id="23" name="AutoShape 3"/>
              <p:cNvSpPr>
                <a:spLocks/>
              </p:cNvSpPr>
              <p:nvPr/>
            </p:nvSpPr>
            <p:spPr bwMode="auto">
              <a:xfrm>
                <a:off x="533" y="98"/>
                <a:ext cx="58" cy="13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1600" h="21600">
                    <a:moveTo>
                      <a:pt x="0" y="21600"/>
                    </a:moveTo>
                    <a:lnTo>
                      <a:pt x="870" y="0"/>
                    </a:lnTo>
                    <a:lnTo>
                      <a:pt x="21600" y="0"/>
                    </a:lnTo>
                    <a:lnTo>
                      <a:pt x="20730" y="21600"/>
                    </a:lnTo>
                    <a:lnTo>
                      <a:pt x="0" y="21600"/>
                    </a:lnTo>
                    <a:close/>
                    <a:moveTo>
                      <a:pt x="0" y="21600"/>
                    </a:moveTo>
                  </a:path>
                </a:pathLst>
              </a:custGeom>
              <a:solidFill>
                <a:srgbClr val="7DF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 cap="flat">
                    <a:solidFill>
                      <a:srgbClr val="000000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en-GB"/>
              </a:p>
            </p:txBody>
          </p:sp>
        </p:grpSp>
        <p:sp>
          <p:nvSpPr>
            <p:cNvPr id="17" name="22 CuadroTexto"/>
            <p:cNvSpPr txBox="1"/>
            <p:nvPr userDrawn="1"/>
          </p:nvSpPr>
          <p:spPr>
            <a:xfrm>
              <a:off x="58864" y="6577689"/>
              <a:ext cx="2103461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b="0" i="1" noProof="0" dirty="0" smtClean="0">
                  <a:solidFill>
                    <a:schemeClr val="accent5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SCOVER</a:t>
              </a:r>
              <a:r>
                <a:rPr lang="en-US" sz="1000" b="0" i="1" dirty="0" smtClean="0">
                  <a:solidFill>
                    <a:schemeClr val="accent5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DISRUPT, DELIVER</a:t>
              </a:r>
              <a:endParaRPr lang="en-US" sz="1000" b="0" i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572607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17B4C6"/>
          </a:solidFill>
          <a:latin typeface="+mj-lt"/>
          <a:ea typeface="+mj-ea"/>
          <a:cs typeface="+mj-cs"/>
          <a:sym typeface="Gill Sans" pitchFamily="122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122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122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122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122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889000" indent="-571500" algn="l" rtl="0" eaLnBrk="0" fontAlgn="base" hangingPunct="0">
        <a:spcBef>
          <a:spcPts val="3400"/>
        </a:spcBef>
        <a:spcAft>
          <a:spcPct val="0"/>
        </a:spcAft>
        <a:buSzPct val="171000"/>
        <a:buFont typeface="Gill Sans" pitchFamily="122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1pPr>
      <a:lvl2pPr marL="1333500" indent="-571500" algn="l" rtl="0" eaLnBrk="0" fontAlgn="base" hangingPunct="0">
        <a:spcBef>
          <a:spcPts val="3400"/>
        </a:spcBef>
        <a:spcAft>
          <a:spcPct val="0"/>
        </a:spcAft>
        <a:buSzPct val="171000"/>
        <a:buFont typeface="Gill Sans" pitchFamily="122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2pPr>
      <a:lvl3pPr marL="1778000" indent="-571500" algn="l" rtl="0" eaLnBrk="0" fontAlgn="base" hangingPunct="0">
        <a:spcBef>
          <a:spcPts val="3400"/>
        </a:spcBef>
        <a:spcAft>
          <a:spcPct val="0"/>
        </a:spcAft>
        <a:buSzPct val="171000"/>
        <a:buFont typeface="Gill Sans" pitchFamily="122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3pPr>
      <a:lvl4pPr marL="2222500" indent="-571500" algn="l" rtl="0" eaLnBrk="0" fontAlgn="base" hangingPunct="0">
        <a:spcBef>
          <a:spcPts val="3400"/>
        </a:spcBef>
        <a:spcAft>
          <a:spcPct val="0"/>
        </a:spcAft>
        <a:buSzPct val="171000"/>
        <a:buFont typeface="Gill Sans" pitchFamily="122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4pPr>
      <a:lvl5pPr marL="2667000" indent="-571500" algn="l" rtl="0" eaLnBrk="0" fontAlgn="base" hangingPunct="0">
        <a:spcBef>
          <a:spcPts val="3400"/>
        </a:spcBef>
        <a:spcAft>
          <a:spcPct val="0"/>
        </a:spcAft>
        <a:buSzPct val="171000"/>
        <a:buFont typeface="Gill Sans" pitchFamily="122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5pPr>
      <a:lvl6pPr marL="3124200" indent="-571500" algn="l" rtl="0" fontAlgn="base">
        <a:spcBef>
          <a:spcPts val="3400"/>
        </a:spcBef>
        <a:spcAft>
          <a:spcPct val="0"/>
        </a:spcAft>
        <a:buSzPct val="171000"/>
        <a:buFont typeface="Gill Sans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3581400" indent="-571500" algn="l" rtl="0" fontAlgn="base">
        <a:spcBef>
          <a:spcPts val="3400"/>
        </a:spcBef>
        <a:spcAft>
          <a:spcPct val="0"/>
        </a:spcAft>
        <a:buSzPct val="171000"/>
        <a:buFont typeface="Gill Sans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4038600" indent="-571500" algn="l" rtl="0" fontAlgn="base">
        <a:spcBef>
          <a:spcPts val="3400"/>
        </a:spcBef>
        <a:spcAft>
          <a:spcPct val="0"/>
        </a:spcAft>
        <a:buSzPct val="171000"/>
        <a:buFont typeface="Gill Sans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4495800" indent="-571500" algn="l" rtl="0" fontAlgn="base">
        <a:spcBef>
          <a:spcPts val="3400"/>
        </a:spcBef>
        <a:spcAft>
          <a:spcPct val="0"/>
        </a:spcAft>
        <a:buSzPct val="171000"/>
        <a:buFont typeface="Gill Sans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AutoShape 5"/>
          <p:cNvSpPr>
            <a:spLocks/>
          </p:cNvSpPr>
          <p:nvPr/>
        </p:nvSpPr>
        <p:spPr bwMode="auto">
          <a:xfrm>
            <a:off x="8028844" y="6502400"/>
            <a:ext cx="830873" cy="249238"/>
          </a:xfrm>
          <a:custGeom>
            <a:avLst/>
            <a:gdLst>
              <a:gd name="T0" fmla="*/ 0 w 21600"/>
              <a:gd name="T1" fmla="*/ 892206852 h 21600"/>
              <a:gd name="T2" fmla="*/ 2147483647 w 21600"/>
              <a:gd name="T3" fmla="*/ 141473318 h 21600"/>
              <a:gd name="T4" fmla="*/ 2147483647 w 21600"/>
              <a:gd name="T5" fmla="*/ 96575026 h 21600"/>
              <a:gd name="T6" fmla="*/ 2147483647 w 21600"/>
              <a:gd name="T7" fmla="*/ 275193756 h 21600"/>
              <a:gd name="T8" fmla="*/ 2147483647 w 21600"/>
              <a:gd name="T9" fmla="*/ 59300706 h 21600"/>
              <a:gd name="T10" fmla="*/ 2147483647 w 21600"/>
              <a:gd name="T11" fmla="*/ 702363606 h 21600"/>
              <a:gd name="T12" fmla="*/ 2147483647 w 21600"/>
              <a:gd name="T13" fmla="*/ 341566847 h 21600"/>
              <a:gd name="T14" fmla="*/ 2147483647 w 21600"/>
              <a:gd name="T15" fmla="*/ 6989884 h 21600"/>
              <a:gd name="T16" fmla="*/ 2147483647 w 21600"/>
              <a:gd name="T17" fmla="*/ 12835521 h 21600"/>
              <a:gd name="T18" fmla="*/ 2147483647 w 21600"/>
              <a:gd name="T19" fmla="*/ 406713202 h 21600"/>
              <a:gd name="T20" fmla="*/ 2147483647 w 21600"/>
              <a:gd name="T21" fmla="*/ 446866336 h 21600"/>
              <a:gd name="T22" fmla="*/ 2147483647 w 21600"/>
              <a:gd name="T23" fmla="*/ 193528986 h 21600"/>
              <a:gd name="T24" fmla="*/ 2147483647 w 21600"/>
              <a:gd name="T25" fmla="*/ 592022721 h 21600"/>
              <a:gd name="T26" fmla="*/ 2147483647 w 21600"/>
              <a:gd name="T27" fmla="*/ 635735349 h 21600"/>
              <a:gd name="T28" fmla="*/ 2147483647 w 21600"/>
              <a:gd name="T29" fmla="*/ 421156883 h 21600"/>
              <a:gd name="T30" fmla="*/ 2147483647 w 21600"/>
              <a:gd name="T31" fmla="*/ 88484663 h 21600"/>
              <a:gd name="T32" fmla="*/ 2147483647 w 21600"/>
              <a:gd name="T33" fmla="*/ 232540374 h 21600"/>
              <a:gd name="T34" fmla="*/ 2147483647 w 21600"/>
              <a:gd name="T35" fmla="*/ 232540374 h 21600"/>
              <a:gd name="T36" fmla="*/ 2147483647 w 21600"/>
              <a:gd name="T37" fmla="*/ 528997692 h 21600"/>
              <a:gd name="T38" fmla="*/ 2147483647 w 21600"/>
              <a:gd name="T39" fmla="*/ 523871306 h 21600"/>
              <a:gd name="T40" fmla="*/ 2147483647 w 21600"/>
              <a:gd name="T41" fmla="*/ 493754362 h 21600"/>
              <a:gd name="T42" fmla="*/ 2147483647 w 21600"/>
              <a:gd name="T43" fmla="*/ 631585869 h 21600"/>
              <a:gd name="T44" fmla="*/ 2147483647 w 21600"/>
              <a:gd name="T45" fmla="*/ 201322939 h 21600"/>
              <a:gd name="T46" fmla="*/ 2147483647 w 21600"/>
              <a:gd name="T47" fmla="*/ 482658754 h 21600"/>
              <a:gd name="T48" fmla="*/ 2147483647 w 21600"/>
              <a:gd name="T49" fmla="*/ 231014554 h 21600"/>
              <a:gd name="T50" fmla="*/ 2147483647 w 21600"/>
              <a:gd name="T51" fmla="*/ 318228550 h 21600"/>
              <a:gd name="T52" fmla="*/ 2147483647 w 21600"/>
              <a:gd name="T53" fmla="*/ 277015998 h 21600"/>
              <a:gd name="T54" fmla="*/ 2147483647 w 21600"/>
              <a:gd name="T55" fmla="*/ 522811888 h 21600"/>
              <a:gd name="T56" fmla="*/ 2147483647 w 21600"/>
              <a:gd name="T57" fmla="*/ 219323441 h 21600"/>
              <a:gd name="T58" fmla="*/ 2147483647 w 21600"/>
              <a:gd name="T59" fmla="*/ 536451489 h 21600"/>
              <a:gd name="T60" fmla="*/ 2147483647 w 21600"/>
              <a:gd name="T61" fmla="*/ 359611267 h 21600"/>
              <a:gd name="T62" fmla="*/ 2147483647 w 21600"/>
              <a:gd name="T63" fmla="*/ 245035739 h 21600"/>
              <a:gd name="T64" fmla="*/ 2147483647 w 21600"/>
              <a:gd name="T65" fmla="*/ 482658754 h 21600"/>
              <a:gd name="T66" fmla="*/ 2147483647 w 21600"/>
              <a:gd name="T67" fmla="*/ 710539155 h 21600"/>
              <a:gd name="T68" fmla="*/ 2147483647 w 21600"/>
              <a:gd name="T69" fmla="*/ 238512269 h 21600"/>
              <a:gd name="T70" fmla="*/ 2147483647 w 21600"/>
              <a:gd name="T71" fmla="*/ 386550130 h 21600"/>
              <a:gd name="T72" fmla="*/ 2147483647 w 21600"/>
              <a:gd name="T73" fmla="*/ 290400434 h 21600"/>
              <a:gd name="T74" fmla="*/ 2147483647 w 21600"/>
              <a:gd name="T75" fmla="*/ 415056069 h 21600"/>
              <a:gd name="T76" fmla="*/ 2147483647 w 21600"/>
              <a:gd name="T77" fmla="*/ 544753284 h 21600"/>
              <a:gd name="T78" fmla="*/ 2147483647 w 21600"/>
              <a:gd name="T79" fmla="*/ 589991905 h 21600"/>
              <a:gd name="T80" fmla="*/ 2147483647 w 21600"/>
              <a:gd name="T81" fmla="*/ 201067773 h 21600"/>
              <a:gd name="T82" fmla="*/ 2147483647 w 21600"/>
              <a:gd name="T83" fmla="*/ 231736294 h 21600"/>
              <a:gd name="T84" fmla="*/ 2147483647 w 21600"/>
              <a:gd name="T85" fmla="*/ 241690339 h 21600"/>
              <a:gd name="T86" fmla="*/ 2147483647 w 21600"/>
              <a:gd name="T87" fmla="*/ 501633500 h 21600"/>
              <a:gd name="T88" fmla="*/ 2147483647 w 21600"/>
              <a:gd name="T89" fmla="*/ 202171109 h 21600"/>
              <a:gd name="T90" fmla="*/ 2147483647 w 21600"/>
              <a:gd name="T91" fmla="*/ 34859246 h 21600"/>
              <a:gd name="T92" fmla="*/ 2147483647 w 21600"/>
              <a:gd name="T93" fmla="*/ 161040897 h 21600"/>
              <a:gd name="T94" fmla="*/ 2147483647 w 21600"/>
              <a:gd name="T95" fmla="*/ 209369568 h 21600"/>
              <a:gd name="T96" fmla="*/ 2147483647 w 21600"/>
              <a:gd name="T97" fmla="*/ 245966066 h 21600"/>
              <a:gd name="T98" fmla="*/ 2147483647 w 21600"/>
              <a:gd name="T99" fmla="*/ 501592243 h 21600"/>
              <a:gd name="T100" fmla="*/ 2147483647 w 21600"/>
              <a:gd name="T101" fmla="*/ 239486513 h 21600"/>
              <a:gd name="T102" fmla="*/ 2147483647 w 21600"/>
              <a:gd name="T103" fmla="*/ 497651349 h 21600"/>
              <a:gd name="T104" fmla="*/ 2147483647 w 21600"/>
              <a:gd name="T105" fmla="*/ 415522655 h 2160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1600" h="21600">
                <a:moveTo>
                  <a:pt x="21600" y="21064"/>
                </a:moveTo>
                <a:cubicBezTo>
                  <a:pt x="21600" y="20776"/>
                  <a:pt x="16158" y="20540"/>
                  <a:pt x="10801" y="20540"/>
                </a:cubicBezTo>
                <a:cubicBezTo>
                  <a:pt x="5443" y="20540"/>
                  <a:pt x="0" y="20776"/>
                  <a:pt x="0" y="21064"/>
                </a:cubicBezTo>
                <a:cubicBezTo>
                  <a:pt x="0" y="21350"/>
                  <a:pt x="5443" y="21600"/>
                  <a:pt x="10801" y="21600"/>
                </a:cubicBezTo>
                <a:cubicBezTo>
                  <a:pt x="16158" y="21599"/>
                  <a:pt x="21600" y="21350"/>
                  <a:pt x="21600" y="21064"/>
                </a:cubicBezTo>
                <a:close/>
                <a:moveTo>
                  <a:pt x="16099" y="3340"/>
                </a:moveTo>
                <a:cubicBezTo>
                  <a:pt x="16246" y="3334"/>
                  <a:pt x="16394" y="2835"/>
                  <a:pt x="16425" y="2245"/>
                </a:cubicBezTo>
                <a:cubicBezTo>
                  <a:pt x="16461" y="1634"/>
                  <a:pt x="16365" y="1165"/>
                  <a:pt x="16216" y="1179"/>
                </a:cubicBezTo>
                <a:cubicBezTo>
                  <a:pt x="16070" y="1180"/>
                  <a:pt x="15924" y="1670"/>
                  <a:pt x="15889" y="2280"/>
                </a:cubicBezTo>
                <a:cubicBezTo>
                  <a:pt x="15858" y="2875"/>
                  <a:pt x="15949" y="3352"/>
                  <a:pt x="16099" y="3340"/>
                </a:cubicBezTo>
                <a:close/>
                <a:moveTo>
                  <a:pt x="2148" y="6604"/>
                </a:moveTo>
                <a:lnTo>
                  <a:pt x="2183" y="6497"/>
                </a:lnTo>
                <a:cubicBezTo>
                  <a:pt x="2134" y="6207"/>
                  <a:pt x="2116" y="5697"/>
                  <a:pt x="2119" y="5390"/>
                </a:cubicBezTo>
                <a:cubicBezTo>
                  <a:pt x="2136" y="2842"/>
                  <a:pt x="2874" y="1400"/>
                  <a:pt x="4024" y="1400"/>
                </a:cubicBezTo>
                <a:lnTo>
                  <a:pt x="4661" y="1400"/>
                </a:lnTo>
                <a:cubicBezTo>
                  <a:pt x="4291" y="2185"/>
                  <a:pt x="3981" y="3230"/>
                  <a:pt x="3743" y="5197"/>
                </a:cubicBezTo>
                <a:cubicBezTo>
                  <a:pt x="3640" y="6043"/>
                  <a:pt x="3153" y="10591"/>
                  <a:pt x="2954" y="12638"/>
                </a:cubicBezTo>
                <a:cubicBezTo>
                  <a:pt x="2706" y="15072"/>
                  <a:pt x="2548" y="16177"/>
                  <a:pt x="2352" y="16582"/>
                </a:cubicBezTo>
                <a:lnTo>
                  <a:pt x="2385" y="16802"/>
                </a:lnTo>
                <a:cubicBezTo>
                  <a:pt x="2937" y="16925"/>
                  <a:pt x="3266" y="15896"/>
                  <a:pt x="3478" y="13994"/>
                </a:cubicBezTo>
                <a:cubicBezTo>
                  <a:pt x="3680" y="12197"/>
                  <a:pt x="3947" y="9336"/>
                  <a:pt x="4078" y="8064"/>
                </a:cubicBezTo>
                <a:cubicBezTo>
                  <a:pt x="4502" y="3971"/>
                  <a:pt x="4688" y="2248"/>
                  <a:pt x="5026" y="1400"/>
                </a:cubicBezTo>
                <a:cubicBezTo>
                  <a:pt x="5497" y="1389"/>
                  <a:pt x="5951" y="1389"/>
                  <a:pt x="5951" y="1389"/>
                </a:cubicBezTo>
                <a:cubicBezTo>
                  <a:pt x="6458" y="1340"/>
                  <a:pt x="6674" y="880"/>
                  <a:pt x="6832" y="165"/>
                </a:cubicBezTo>
                <a:lnTo>
                  <a:pt x="6796" y="0"/>
                </a:lnTo>
                <a:cubicBezTo>
                  <a:pt x="6670" y="251"/>
                  <a:pt x="6395" y="302"/>
                  <a:pt x="6162" y="303"/>
                </a:cubicBezTo>
                <a:lnTo>
                  <a:pt x="3875" y="303"/>
                </a:lnTo>
                <a:cubicBezTo>
                  <a:pt x="2588" y="303"/>
                  <a:pt x="1799" y="1846"/>
                  <a:pt x="1671" y="4142"/>
                </a:cubicBezTo>
                <a:cubicBezTo>
                  <a:pt x="1608" y="5253"/>
                  <a:pt x="1777" y="6456"/>
                  <a:pt x="2148" y="6604"/>
                </a:cubicBezTo>
                <a:close/>
                <a:moveTo>
                  <a:pt x="6336" y="9602"/>
                </a:moveTo>
                <a:cubicBezTo>
                  <a:pt x="6013" y="11310"/>
                  <a:pt x="5562" y="12860"/>
                  <a:pt x="5174" y="12860"/>
                </a:cubicBezTo>
                <a:cubicBezTo>
                  <a:pt x="5009" y="12881"/>
                  <a:pt x="4936" y="12535"/>
                  <a:pt x="4940" y="11843"/>
                </a:cubicBezTo>
                <a:cubicBezTo>
                  <a:pt x="4940" y="11428"/>
                  <a:pt x="4966" y="10844"/>
                  <a:pt x="4989" y="10550"/>
                </a:cubicBezTo>
                <a:cubicBezTo>
                  <a:pt x="5355" y="9874"/>
                  <a:pt x="5728" y="9115"/>
                  <a:pt x="6060" y="7863"/>
                </a:cubicBezTo>
                <a:cubicBezTo>
                  <a:pt x="6246" y="7137"/>
                  <a:pt x="6370" y="6407"/>
                  <a:pt x="6376" y="5655"/>
                </a:cubicBezTo>
                <a:cubicBezTo>
                  <a:pt x="6380" y="4944"/>
                  <a:pt x="6257" y="4583"/>
                  <a:pt x="6015" y="4569"/>
                </a:cubicBezTo>
                <a:cubicBezTo>
                  <a:pt x="5664" y="4554"/>
                  <a:pt x="5243" y="5429"/>
                  <a:pt x="4968" y="6495"/>
                </a:cubicBezTo>
                <a:cubicBezTo>
                  <a:pt x="4609" y="7927"/>
                  <a:pt x="4332" y="9949"/>
                  <a:pt x="4325" y="11748"/>
                </a:cubicBezTo>
                <a:cubicBezTo>
                  <a:pt x="4321" y="13024"/>
                  <a:pt x="4487" y="14037"/>
                  <a:pt x="4936" y="13977"/>
                </a:cubicBezTo>
                <a:cubicBezTo>
                  <a:pt x="5417" y="13928"/>
                  <a:pt x="5891" y="12574"/>
                  <a:pt x="6133" y="11593"/>
                </a:cubicBezTo>
                <a:cubicBezTo>
                  <a:pt x="6105" y="12014"/>
                  <a:pt x="6085" y="12408"/>
                  <a:pt x="6085" y="12732"/>
                </a:cubicBezTo>
                <a:cubicBezTo>
                  <a:pt x="6085" y="13864"/>
                  <a:pt x="6239" y="14667"/>
                  <a:pt x="6544" y="15009"/>
                </a:cubicBezTo>
                <a:lnTo>
                  <a:pt x="6605" y="14903"/>
                </a:lnTo>
                <a:cubicBezTo>
                  <a:pt x="6578" y="14599"/>
                  <a:pt x="6571" y="14277"/>
                  <a:pt x="6578" y="13919"/>
                </a:cubicBezTo>
                <a:cubicBezTo>
                  <a:pt x="6599" y="12819"/>
                  <a:pt x="6719" y="11576"/>
                  <a:pt x="6894" y="9943"/>
                </a:cubicBezTo>
                <a:cubicBezTo>
                  <a:pt x="7231" y="6855"/>
                  <a:pt x="7720" y="3323"/>
                  <a:pt x="7934" y="1239"/>
                </a:cubicBezTo>
                <a:lnTo>
                  <a:pt x="7422" y="1596"/>
                </a:lnTo>
                <a:cubicBezTo>
                  <a:pt x="7342" y="1656"/>
                  <a:pt x="7292" y="1877"/>
                  <a:pt x="7265" y="2089"/>
                </a:cubicBezTo>
                <a:cubicBezTo>
                  <a:pt x="7018" y="4008"/>
                  <a:pt x="6764" y="6055"/>
                  <a:pt x="6447" y="8720"/>
                </a:cubicBezTo>
                <a:cubicBezTo>
                  <a:pt x="6410" y="9004"/>
                  <a:pt x="6376" y="9305"/>
                  <a:pt x="6336" y="9602"/>
                </a:cubicBezTo>
                <a:close/>
                <a:moveTo>
                  <a:pt x="5856" y="5490"/>
                </a:moveTo>
                <a:cubicBezTo>
                  <a:pt x="5935" y="5490"/>
                  <a:pt x="5963" y="5689"/>
                  <a:pt x="5963" y="5944"/>
                </a:cubicBezTo>
                <a:cubicBezTo>
                  <a:pt x="5963" y="7146"/>
                  <a:pt x="5556" y="8686"/>
                  <a:pt x="5037" y="9810"/>
                </a:cubicBezTo>
                <a:cubicBezTo>
                  <a:pt x="5167" y="7947"/>
                  <a:pt x="5534" y="5472"/>
                  <a:pt x="5856" y="5490"/>
                </a:cubicBezTo>
                <a:close/>
                <a:moveTo>
                  <a:pt x="14619" y="12665"/>
                </a:moveTo>
                <a:cubicBezTo>
                  <a:pt x="14619" y="13518"/>
                  <a:pt x="14767" y="14043"/>
                  <a:pt x="15050" y="14014"/>
                </a:cubicBezTo>
                <a:cubicBezTo>
                  <a:pt x="15344" y="13993"/>
                  <a:pt x="15642" y="13359"/>
                  <a:pt x="15889" y="12489"/>
                </a:cubicBezTo>
                <a:cubicBezTo>
                  <a:pt x="15936" y="13410"/>
                  <a:pt x="16117" y="14077"/>
                  <a:pt x="16488" y="14028"/>
                </a:cubicBezTo>
                <a:cubicBezTo>
                  <a:pt x="16874" y="13977"/>
                  <a:pt x="17243" y="13095"/>
                  <a:pt x="17499" y="12073"/>
                </a:cubicBezTo>
                <a:lnTo>
                  <a:pt x="17499" y="12368"/>
                </a:lnTo>
                <a:cubicBezTo>
                  <a:pt x="17499" y="13315"/>
                  <a:pt x="17633" y="14021"/>
                  <a:pt x="17929" y="14021"/>
                </a:cubicBezTo>
                <a:cubicBezTo>
                  <a:pt x="18248" y="14021"/>
                  <a:pt x="18615" y="13146"/>
                  <a:pt x="18906" y="11641"/>
                </a:cubicBezTo>
                <a:lnTo>
                  <a:pt x="18914" y="11657"/>
                </a:lnTo>
                <a:cubicBezTo>
                  <a:pt x="18888" y="12014"/>
                  <a:pt x="18856" y="12620"/>
                  <a:pt x="18852" y="13025"/>
                </a:cubicBezTo>
                <a:cubicBezTo>
                  <a:pt x="18847" y="14159"/>
                  <a:pt x="19032" y="14816"/>
                  <a:pt x="19289" y="15003"/>
                </a:cubicBezTo>
                <a:lnTo>
                  <a:pt x="19352" y="14911"/>
                </a:lnTo>
                <a:cubicBezTo>
                  <a:pt x="19258" y="14087"/>
                  <a:pt x="19389" y="12036"/>
                  <a:pt x="19444" y="11353"/>
                </a:cubicBezTo>
                <a:cubicBezTo>
                  <a:pt x="19635" y="9107"/>
                  <a:pt x="19938" y="6540"/>
                  <a:pt x="20114" y="5205"/>
                </a:cubicBezTo>
                <a:cubicBezTo>
                  <a:pt x="20034" y="4955"/>
                  <a:pt x="19847" y="4786"/>
                  <a:pt x="19647" y="4753"/>
                </a:cubicBezTo>
                <a:cubicBezTo>
                  <a:pt x="18983" y="4665"/>
                  <a:pt x="18316" y="5664"/>
                  <a:pt x="17830" y="8808"/>
                </a:cubicBezTo>
                <a:cubicBezTo>
                  <a:pt x="17746" y="9356"/>
                  <a:pt x="17655" y="9985"/>
                  <a:pt x="17587" y="10651"/>
                </a:cubicBezTo>
                <a:cubicBezTo>
                  <a:pt x="17518" y="10987"/>
                  <a:pt x="17445" y="11287"/>
                  <a:pt x="17415" y="11395"/>
                </a:cubicBezTo>
                <a:cubicBezTo>
                  <a:pt x="17239" y="12014"/>
                  <a:pt x="16989" y="12807"/>
                  <a:pt x="16735" y="12819"/>
                </a:cubicBezTo>
                <a:cubicBezTo>
                  <a:pt x="16590" y="12829"/>
                  <a:pt x="16510" y="12458"/>
                  <a:pt x="16514" y="11799"/>
                </a:cubicBezTo>
                <a:cubicBezTo>
                  <a:pt x="16516" y="9284"/>
                  <a:pt x="17124" y="5464"/>
                  <a:pt x="17538" y="5454"/>
                </a:cubicBezTo>
                <a:cubicBezTo>
                  <a:pt x="17650" y="5454"/>
                  <a:pt x="17700" y="5635"/>
                  <a:pt x="17700" y="5987"/>
                </a:cubicBezTo>
                <a:cubicBezTo>
                  <a:pt x="17700" y="6406"/>
                  <a:pt x="17621" y="6981"/>
                  <a:pt x="17510" y="7352"/>
                </a:cubicBezTo>
                <a:lnTo>
                  <a:pt x="17558" y="7513"/>
                </a:lnTo>
                <a:cubicBezTo>
                  <a:pt x="17835" y="7124"/>
                  <a:pt x="18093" y="6420"/>
                  <a:pt x="18095" y="5671"/>
                </a:cubicBezTo>
                <a:cubicBezTo>
                  <a:pt x="18095" y="4817"/>
                  <a:pt x="17825" y="4658"/>
                  <a:pt x="17585" y="4665"/>
                </a:cubicBezTo>
                <a:cubicBezTo>
                  <a:pt x="17262" y="4681"/>
                  <a:pt x="16861" y="5257"/>
                  <a:pt x="16539" y="6540"/>
                </a:cubicBezTo>
                <a:cubicBezTo>
                  <a:pt x="16136" y="8149"/>
                  <a:pt x="15927" y="10079"/>
                  <a:pt x="15886" y="11456"/>
                </a:cubicBezTo>
                <a:cubicBezTo>
                  <a:pt x="15702" y="12240"/>
                  <a:pt x="15496" y="12775"/>
                  <a:pt x="15358" y="12781"/>
                </a:cubicBezTo>
                <a:cubicBezTo>
                  <a:pt x="15281" y="12792"/>
                  <a:pt x="15225" y="12639"/>
                  <a:pt x="15224" y="12343"/>
                </a:cubicBezTo>
                <a:cubicBezTo>
                  <a:pt x="15224" y="12081"/>
                  <a:pt x="15266" y="11546"/>
                  <a:pt x="15336" y="10851"/>
                </a:cubicBezTo>
                <a:cubicBezTo>
                  <a:pt x="15515" y="9231"/>
                  <a:pt x="15772" y="7212"/>
                  <a:pt x="16090" y="4811"/>
                </a:cubicBezTo>
                <a:cubicBezTo>
                  <a:pt x="16090" y="4811"/>
                  <a:pt x="15608" y="5106"/>
                  <a:pt x="15538" y="5178"/>
                </a:cubicBezTo>
                <a:cubicBezTo>
                  <a:pt x="15465" y="5246"/>
                  <a:pt x="15409" y="5421"/>
                  <a:pt x="15377" y="5663"/>
                </a:cubicBezTo>
                <a:cubicBezTo>
                  <a:pt x="15170" y="7261"/>
                  <a:pt x="14925" y="9107"/>
                  <a:pt x="14773" y="10483"/>
                </a:cubicBezTo>
                <a:cubicBezTo>
                  <a:pt x="14677" y="11351"/>
                  <a:pt x="14619" y="12173"/>
                  <a:pt x="14619" y="12665"/>
                </a:cubicBezTo>
                <a:close/>
                <a:moveTo>
                  <a:pt x="19138" y="5785"/>
                </a:moveTo>
                <a:cubicBezTo>
                  <a:pt x="19291" y="5520"/>
                  <a:pt x="19420" y="5503"/>
                  <a:pt x="19529" y="5583"/>
                </a:cubicBezTo>
                <a:cubicBezTo>
                  <a:pt x="19488" y="5895"/>
                  <a:pt x="19302" y="7261"/>
                  <a:pt x="19158" y="8490"/>
                </a:cubicBezTo>
                <a:cubicBezTo>
                  <a:pt x="18929" y="10417"/>
                  <a:pt x="18585" y="12362"/>
                  <a:pt x="18267" y="12639"/>
                </a:cubicBezTo>
                <a:cubicBezTo>
                  <a:pt x="18157" y="12754"/>
                  <a:pt x="18093" y="12583"/>
                  <a:pt x="18095" y="12183"/>
                </a:cubicBezTo>
                <a:cubicBezTo>
                  <a:pt x="18104" y="10478"/>
                  <a:pt x="18619" y="6672"/>
                  <a:pt x="19138" y="5785"/>
                </a:cubicBezTo>
                <a:close/>
                <a:moveTo>
                  <a:pt x="7191" y="11749"/>
                </a:moveTo>
                <a:cubicBezTo>
                  <a:pt x="7187" y="12996"/>
                  <a:pt x="7367" y="14037"/>
                  <a:pt x="7828" y="13977"/>
                </a:cubicBezTo>
                <a:cubicBezTo>
                  <a:pt x="8321" y="13929"/>
                  <a:pt x="8771" y="12887"/>
                  <a:pt x="9160" y="11395"/>
                </a:cubicBezTo>
                <a:cubicBezTo>
                  <a:pt x="9062" y="12352"/>
                  <a:pt x="8978" y="13174"/>
                  <a:pt x="8928" y="13618"/>
                </a:cubicBezTo>
                <a:cubicBezTo>
                  <a:pt x="8784" y="14935"/>
                  <a:pt x="8677" y="15997"/>
                  <a:pt x="8456" y="16614"/>
                </a:cubicBezTo>
                <a:lnTo>
                  <a:pt x="8480" y="16775"/>
                </a:lnTo>
                <a:cubicBezTo>
                  <a:pt x="9130" y="16912"/>
                  <a:pt x="9375" y="15243"/>
                  <a:pt x="9643" y="12520"/>
                </a:cubicBezTo>
                <a:cubicBezTo>
                  <a:pt x="9910" y="9793"/>
                  <a:pt x="10137" y="7425"/>
                  <a:pt x="10313" y="5780"/>
                </a:cubicBezTo>
                <a:cubicBezTo>
                  <a:pt x="10598" y="5780"/>
                  <a:pt x="11002" y="5817"/>
                  <a:pt x="11229" y="5631"/>
                </a:cubicBezTo>
                <a:cubicBezTo>
                  <a:pt x="10638" y="6588"/>
                  <a:pt x="10137" y="10023"/>
                  <a:pt x="10196" y="12286"/>
                </a:cubicBezTo>
                <a:cubicBezTo>
                  <a:pt x="10222" y="13286"/>
                  <a:pt x="10386" y="13978"/>
                  <a:pt x="10736" y="13978"/>
                </a:cubicBezTo>
                <a:cubicBezTo>
                  <a:pt x="11413" y="13978"/>
                  <a:pt x="11982" y="11053"/>
                  <a:pt x="12199" y="9126"/>
                </a:cubicBezTo>
                <a:cubicBezTo>
                  <a:pt x="12324" y="8020"/>
                  <a:pt x="12406" y="7075"/>
                  <a:pt x="12420" y="6128"/>
                </a:cubicBezTo>
                <a:cubicBezTo>
                  <a:pt x="12581" y="6026"/>
                  <a:pt x="12735" y="5923"/>
                  <a:pt x="12812" y="5883"/>
                </a:cubicBezTo>
                <a:cubicBezTo>
                  <a:pt x="12960" y="5808"/>
                  <a:pt x="12931" y="6407"/>
                  <a:pt x="12885" y="6856"/>
                </a:cubicBezTo>
                <a:cubicBezTo>
                  <a:pt x="12608" y="9678"/>
                  <a:pt x="12129" y="13774"/>
                  <a:pt x="12127" y="13838"/>
                </a:cubicBezTo>
                <a:lnTo>
                  <a:pt x="12656" y="13838"/>
                </a:lnTo>
                <a:cubicBezTo>
                  <a:pt x="12885" y="12098"/>
                  <a:pt x="13026" y="10986"/>
                  <a:pt x="13209" y="9799"/>
                </a:cubicBezTo>
                <a:cubicBezTo>
                  <a:pt x="13430" y="8408"/>
                  <a:pt x="13922" y="6112"/>
                  <a:pt x="14117" y="6108"/>
                </a:cubicBezTo>
                <a:cubicBezTo>
                  <a:pt x="14187" y="6108"/>
                  <a:pt x="14205" y="6267"/>
                  <a:pt x="14187" y="6515"/>
                </a:cubicBezTo>
                <a:cubicBezTo>
                  <a:pt x="14153" y="7460"/>
                  <a:pt x="13520" y="11075"/>
                  <a:pt x="13530" y="12861"/>
                </a:cubicBezTo>
                <a:cubicBezTo>
                  <a:pt x="13536" y="14028"/>
                  <a:pt x="13704" y="14735"/>
                  <a:pt x="13999" y="15000"/>
                </a:cubicBezTo>
                <a:lnTo>
                  <a:pt x="14060" y="14874"/>
                </a:lnTo>
                <a:cubicBezTo>
                  <a:pt x="14023" y="14619"/>
                  <a:pt x="14018" y="14302"/>
                  <a:pt x="14017" y="13929"/>
                </a:cubicBezTo>
                <a:cubicBezTo>
                  <a:pt x="14012" y="12738"/>
                  <a:pt x="14278" y="10651"/>
                  <a:pt x="14381" y="9842"/>
                </a:cubicBezTo>
                <a:cubicBezTo>
                  <a:pt x="14544" y="8570"/>
                  <a:pt x="14835" y="6713"/>
                  <a:pt x="14816" y="5696"/>
                </a:cubicBezTo>
                <a:cubicBezTo>
                  <a:pt x="14807" y="5197"/>
                  <a:pt x="14704" y="4753"/>
                  <a:pt x="14471" y="4747"/>
                </a:cubicBezTo>
                <a:cubicBezTo>
                  <a:pt x="14040" y="4739"/>
                  <a:pt x="13611" y="6267"/>
                  <a:pt x="13251" y="8318"/>
                </a:cubicBezTo>
                <a:lnTo>
                  <a:pt x="13241" y="8308"/>
                </a:lnTo>
                <a:cubicBezTo>
                  <a:pt x="13385" y="7116"/>
                  <a:pt x="13498" y="6010"/>
                  <a:pt x="13494" y="5471"/>
                </a:cubicBezTo>
                <a:cubicBezTo>
                  <a:pt x="13491" y="4978"/>
                  <a:pt x="13414" y="4785"/>
                  <a:pt x="13253" y="4785"/>
                </a:cubicBezTo>
                <a:cubicBezTo>
                  <a:pt x="13139" y="4797"/>
                  <a:pt x="12985" y="4954"/>
                  <a:pt x="12832" y="5105"/>
                </a:cubicBezTo>
                <a:cubicBezTo>
                  <a:pt x="12619" y="5306"/>
                  <a:pt x="12395" y="5518"/>
                  <a:pt x="12148" y="5706"/>
                </a:cubicBezTo>
                <a:cubicBezTo>
                  <a:pt x="11998" y="5780"/>
                  <a:pt x="11945" y="5882"/>
                  <a:pt x="11950" y="6080"/>
                </a:cubicBezTo>
                <a:cubicBezTo>
                  <a:pt x="11981" y="9212"/>
                  <a:pt x="11397" y="12892"/>
                  <a:pt x="11007" y="12905"/>
                </a:cubicBezTo>
                <a:cubicBezTo>
                  <a:pt x="10840" y="12905"/>
                  <a:pt x="10802" y="12459"/>
                  <a:pt x="10802" y="11843"/>
                </a:cubicBezTo>
                <a:cubicBezTo>
                  <a:pt x="10801" y="9677"/>
                  <a:pt x="11289" y="6041"/>
                  <a:pt x="11765" y="5463"/>
                </a:cubicBezTo>
                <a:cubicBezTo>
                  <a:pt x="11806" y="5421"/>
                  <a:pt x="11847" y="5389"/>
                  <a:pt x="11874" y="5357"/>
                </a:cubicBezTo>
                <a:lnTo>
                  <a:pt x="11935" y="4773"/>
                </a:lnTo>
                <a:cubicBezTo>
                  <a:pt x="11834" y="4850"/>
                  <a:pt x="11593" y="4863"/>
                  <a:pt x="11467" y="4875"/>
                </a:cubicBezTo>
                <a:lnTo>
                  <a:pt x="10421" y="4875"/>
                </a:lnTo>
                <a:cubicBezTo>
                  <a:pt x="10697" y="2471"/>
                  <a:pt x="11085" y="915"/>
                  <a:pt x="11653" y="823"/>
                </a:cubicBezTo>
                <a:cubicBezTo>
                  <a:pt x="12005" y="779"/>
                  <a:pt x="12243" y="1264"/>
                  <a:pt x="12264" y="2003"/>
                </a:cubicBezTo>
                <a:cubicBezTo>
                  <a:pt x="12278" y="2630"/>
                  <a:pt x="12231" y="3141"/>
                  <a:pt x="12093" y="3660"/>
                </a:cubicBezTo>
                <a:lnTo>
                  <a:pt x="12132" y="3802"/>
                </a:lnTo>
                <a:cubicBezTo>
                  <a:pt x="12443" y="3265"/>
                  <a:pt x="12658" y="2353"/>
                  <a:pt x="12659" y="1732"/>
                </a:cubicBezTo>
                <a:cubicBezTo>
                  <a:pt x="12663" y="767"/>
                  <a:pt x="12345" y="175"/>
                  <a:pt x="11837" y="193"/>
                </a:cubicBezTo>
                <a:cubicBezTo>
                  <a:pt x="11191" y="207"/>
                  <a:pt x="10396" y="739"/>
                  <a:pt x="9840" y="4943"/>
                </a:cubicBezTo>
                <a:cubicBezTo>
                  <a:pt x="9674" y="5036"/>
                  <a:pt x="9524" y="5265"/>
                  <a:pt x="9398" y="5758"/>
                </a:cubicBezTo>
                <a:lnTo>
                  <a:pt x="9421" y="5943"/>
                </a:lnTo>
                <a:cubicBezTo>
                  <a:pt x="9511" y="5825"/>
                  <a:pt x="9618" y="5807"/>
                  <a:pt x="9739" y="5807"/>
                </a:cubicBezTo>
                <a:cubicBezTo>
                  <a:pt x="9662" y="6494"/>
                  <a:pt x="9507" y="7990"/>
                  <a:pt x="9354" y="9529"/>
                </a:cubicBezTo>
                <a:cubicBezTo>
                  <a:pt x="8885" y="11784"/>
                  <a:pt x="8415" y="12859"/>
                  <a:pt x="8071" y="12859"/>
                </a:cubicBezTo>
                <a:cubicBezTo>
                  <a:pt x="7883" y="12880"/>
                  <a:pt x="7808" y="12503"/>
                  <a:pt x="7805" y="11842"/>
                </a:cubicBezTo>
                <a:cubicBezTo>
                  <a:pt x="7803" y="11427"/>
                  <a:pt x="7832" y="10850"/>
                  <a:pt x="7854" y="10549"/>
                </a:cubicBezTo>
                <a:cubicBezTo>
                  <a:pt x="8222" y="9873"/>
                  <a:pt x="8592" y="9114"/>
                  <a:pt x="8926" y="7862"/>
                </a:cubicBezTo>
                <a:cubicBezTo>
                  <a:pt x="9110" y="7136"/>
                  <a:pt x="9238" y="6406"/>
                  <a:pt x="9242" y="5654"/>
                </a:cubicBezTo>
                <a:cubicBezTo>
                  <a:pt x="9245" y="4943"/>
                  <a:pt x="9126" y="4582"/>
                  <a:pt x="8880" y="4568"/>
                </a:cubicBezTo>
                <a:cubicBezTo>
                  <a:pt x="8531" y="4553"/>
                  <a:pt x="8109" y="5428"/>
                  <a:pt x="7834" y="6494"/>
                </a:cubicBezTo>
                <a:cubicBezTo>
                  <a:pt x="7475" y="7927"/>
                  <a:pt x="7197" y="9950"/>
                  <a:pt x="7191" y="11749"/>
                </a:cubicBezTo>
                <a:close/>
                <a:moveTo>
                  <a:pt x="8720" y="5490"/>
                </a:moveTo>
                <a:cubicBezTo>
                  <a:pt x="8799" y="5490"/>
                  <a:pt x="8832" y="5689"/>
                  <a:pt x="8832" y="5944"/>
                </a:cubicBezTo>
                <a:cubicBezTo>
                  <a:pt x="8828" y="7146"/>
                  <a:pt x="8425" y="8686"/>
                  <a:pt x="7901" y="9810"/>
                </a:cubicBezTo>
                <a:cubicBezTo>
                  <a:pt x="8033" y="7947"/>
                  <a:pt x="8400" y="5472"/>
                  <a:pt x="8720" y="5490"/>
                </a:cubicBezTo>
                <a:close/>
                <a:moveTo>
                  <a:pt x="8720" y="5490"/>
                </a:moveTo>
              </a:path>
            </a:pathLst>
          </a:custGeom>
          <a:solidFill>
            <a:srgbClr val="00334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GB">
              <a:solidFill>
                <a:srgbClr val="003245"/>
              </a:solidFill>
            </a:endParaRPr>
          </a:p>
        </p:txBody>
      </p:sp>
      <p:sp>
        <p:nvSpPr>
          <p:cNvPr id="6148" name="Rectangle 13"/>
          <p:cNvSpPr>
            <a:spLocks/>
          </p:cNvSpPr>
          <p:nvPr/>
        </p:nvSpPr>
        <p:spPr bwMode="auto">
          <a:xfrm rot="10800000">
            <a:off x="7164292" y="6332538"/>
            <a:ext cx="864577" cy="49212"/>
          </a:xfrm>
          <a:prstGeom prst="rect">
            <a:avLst/>
          </a:prstGeom>
          <a:solidFill>
            <a:srgbClr val="156273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ES">
              <a:solidFill>
                <a:srgbClr val="003245"/>
              </a:solidFill>
            </a:endParaRPr>
          </a:p>
        </p:txBody>
      </p:sp>
      <p:sp>
        <p:nvSpPr>
          <p:cNvPr id="6149" name="Rectangle 12"/>
          <p:cNvSpPr>
            <a:spLocks/>
          </p:cNvSpPr>
          <p:nvPr/>
        </p:nvSpPr>
        <p:spPr bwMode="auto">
          <a:xfrm rot="10800000">
            <a:off x="8015680" y="6332538"/>
            <a:ext cx="1122485" cy="49212"/>
          </a:xfrm>
          <a:prstGeom prst="rect">
            <a:avLst/>
          </a:prstGeom>
          <a:solidFill>
            <a:srgbClr val="11536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ES">
              <a:solidFill>
                <a:srgbClr val="003245"/>
              </a:solidFill>
            </a:endParaRPr>
          </a:p>
        </p:txBody>
      </p:sp>
      <p:sp>
        <p:nvSpPr>
          <p:cNvPr id="6150" name="Rectangle 14"/>
          <p:cNvSpPr>
            <a:spLocks/>
          </p:cNvSpPr>
          <p:nvPr/>
        </p:nvSpPr>
        <p:spPr bwMode="auto">
          <a:xfrm rot="10800000">
            <a:off x="6268916" y="6332538"/>
            <a:ext cx="895350" cy="49212"/>
          </a:xfrm>
          <a:prstGeom prst="rect">
            <a:avLst/>
          </a:prstGeom>
          <a:solidFill>
            <a:srgbClr val="1C8494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ES">
              <a:solidFill>
                <a:srgbClr val="003245"/>
              </a:solidFill>
            </a:endParaRPr>
          </a:p>
        </p:txBody>
      </p:sp>
      <p:sp>
        <p:nvSpPr>
          <p:cNvPr id="6151" name="Rectangle 15"/>
          <p:cNvSpPr>
            <a:spLocks/>
          </p:cNvSpPr>
          <p:nvPr/>
        </p:nvSpPr>
        <p:spPr bwMode="auto">
          <a:xfrm rot="10800000">
            <a:off x="-5857" y="6332538"/>
            <a:ext cx="6274777" cy="49212"/>
          </a:xfrm>
          <a:prstGeom prst="rect">
            <a:avLst/>
          </a:prstGeom>
          <a:solidFill>
            <a:srgbClr val="29C6D4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ES">
              <a:solidFill>
                <a:srgbClr val="003245"/>
              </a:solidFill>
            </a:endParaRPr>
          </a:p>
        </p:txBody>
      </p:sp>
      <p:sp>
        <p:nvSpPr>
          <p:cNvPr id="1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425880" y="6464175"/>
            <a:ext cx="279065" cy="29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lang="en-US" sz="1000" smtClean="0">
                <a:solidFill>
                  <a:srgbClr val="072534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fld id="{9D9F8B9A-560A-470D-9EA6-79F5999904E6}" type="slidenum">
              <a:rPr lang="en-GB"/>
              <a:pPr/>
              <a:t>‹Nº›</a:t>
            </a:fld>
            <a:endParaRPr lang="en-GB" dirty="0"/>
          </a:p>
        </p:txBody>
      </p:sp>
      <p:sp>
        <p:nvSpPr>
          <p:cNvPr id="20" name="AutoShape 3"/>
          <p:cNvSpPr>
            <a:spLocks/>
          </p:cNvSpPr>
          <p:nvPr userDrawn="1"/>
        </p:nvSpPr>
        <p:spPr bwMode="auto">
          <a:xfrm>
            <a:off x="5521839" y="44450"/>
            <a:ext cx="3578225" cy="706537"/>
          </a:xfrm>
          <a:custGeom>
            <a:avLst/>
            <a:gdLst>
              <a:gd name="T0" fmla="*/ 2763 w 21600"/>
              <a:gd name="T1" fmla="*/ 2391 h 21600"/>
              <a:gd name="T2" fmla="*/ 2514 w 21600"/>
              <a:gd name="T3" fmla="*/ 15636 h 21600"/>
              <a:gd name="T4" fmla="*/ 0 w 21600"/>
              <a:gd name="T5" fmla="*/ 18316 h 21600"/>
              <a:gd name="T6" fmla="*/ 1547 w 21600"/>
              <a:gd name="T7" fmla="*/ 342 h 21600"/>
              <a:gd name="T8" fmla="*/ 1092 w 21600"/>
              <a:gd name="T9" fmla="*/ 15320 h 21600"/>
              <a:gd name="T10" fmla="*/ 2279 w 21600"/>
              <a:gd name="T11" fmla="*/ 7438 h 21600"/>
              <a:gd name="T12" fmla="*/ 1527 w 21600"/>
              <a:gd name="T13" fmla="*/ 3338 h 21600"/>
              <a:gd name="T14" fmla="*/ 843 w 21600"/>
              <a:gd name="T15" fmla="*/ 15320 h 21600"/>
              <a:gd name="T16" fmla="*/ 4037 w 21600"/>
              <a:gd name="T17" fmla="*/ 18316 h 21600"/>
              <a:gd name="T18" fmla="*/ 3864 w 21600"/>
              <a:gd name="T19" fmla="*/ 342 h 21600"/>
              <a:gd name="T20" fmla="*/ 6076 w 21600"/>
              <a:gd name="T21" fmla="*/ 11011 h 21600"/>
              <a:gd name="T22" fmla="*/ 5818 w 21600"/>
              <a:gd name="T23" fmla="*/ 15531 h 21600"/>
              <a:gd name="T24" fmla="*/ 4717 w 21600"/>
              <a:gd name="T25" fmla="*/ 17606 h 21600"/>
              <a:gd name="T26" fmla="*/ 6843 w 21600"/>
              <a:gd name="T27" fmla="*/ 17186 h 21600"/>
              <a:gd name="T28" fmla="*/ 6555 w 21600"/>
              <a:gd name="T29" fmla="*/ 8015 h 21600"/>
              <a:gd name="T30" fmla="*/ 5789 w 21600"/>
              <a:gd name="T31" fmla="*/ 5071 h 21600"/>
              <a:gd name="T32" fmla="*/ 7163 w 21600"/>
              <a:gd name="T33" fmla="*/ 3837 h 21600"/>
              <a:gd name="T34" fmla="*/ 6407 w 21600"/>
              <a:gd name="T35" fmla="*/ 0 h 21600"/>
              <a:gd name="T36" fmla="*/ 5076 w 21600"/>
              <a:gd name="T37" fmla="*/ 5571 h 21600"/>
              <a:gd name="T38" fmla="*/ 6076 w 21600"/>
              <a:gd name="T39" fmla="*/ 11011 h 21600"/>
              <a:gd name="T40" fmla="*/ 9668 w 21600"/>
              <a:gd name="T41" fmla="*/ 11116 h 21600"/>
              <a:gd name="T42" fmla="*/ 9375 w 21600"/>
              <a:gd name="T43" fmla="*/ 18316 h 21600"/>
              <a:gd name="T44" fmla="*/ 8552 w 21600"/>
              <a:gd name="T45" fmla="*/ 11799 h 21600"/>
              <a:gd name="T46" fmla="*/ 7599 w 21600"/>
              <a:gd name="T47" fmla="*/ 18316 h 21600"/>
              <a:gd name="T48" fmla="*/ 9289 w 21600"/>
              <a:gd name="T49" fmla="*/ 342 h 21600"/>
              <a:gd name="T50" fmla="*/ 10434 w 21600"/>
              <a:gd name="T51" fmla="*/ 5466 h 21600"/>
              <a:gd name="T52" fmla="*/ 8648 w 21600"/>
              <a:gd name="T53" fmla="*/ 8830 h 21600"/>
              <a:gd name="T54" fmla="*/ 9510 w 21600"/>
              <a:gd name="T55" fmla="*/ 7884 h 21600"/>
              <a:gd name="T56" fmla="*/ 9596 w 21600"/>
              <a:gd name="T57" fmla="*/ 3969 h 21600"/>
              <a:gd name="T58" fmla="*/ 8825 w 21600"/>
              <a:gd name="T59" fmla="*/ 3312 h 21600"/>
              <a:gd name="T60" fmla="*/ 12885 w 21600"/>
              <a:gd name="T61" fmla="*/ 11169 h 21600"/>
              <a:gd name="T62" fmla="*/ 12134 w 21600"/>
              <a:gd name="T63" fmla="*/ 15557 h 21600"/>
              <a:gd name="T64" fmla="*/ 11588 w 21600"/>
              <a:gd name="T65" fmla="*/ 12640 h 21600"/>
              <a:gd name="T66" fmla="*/ 11961 w 21600"/>
              <a:gd name="T67" fmla="*/ 342 h 21600"/>
              <a:gd name="T68" fmla="*/ 10922 w 21600"/>
              <a:gd name="T69" fmla="*/ 9855 h 21600"/>
              <a:gd name="T70" fmla="*/ 11190 w 21600"/>
              <a:gd name="T71" fmla="*/ 17108 h 21600"/>
              <a:gd name="T72" fmla="*/ 13077 w 21600"/>
              <a:gd name="T73" fmla="*/ 17029 h 21600"/>
              <a:gd name="T74" fmla="*/ 13900 w 21600"/>
              <a:gd name="T75" fmla="*/ 343 h 21600"/>
              <a:gd name="T76" fmla="*/ 12885 w 21600"/>
              <a:gd name="T77" fmla="*/ 11169 h 21600"/>
              <a:gd name="T78" fmla="*/ 14025 w 21600"/>
              <a:gd name="T79" fmla="*/ 18316 h 21600"/>
              <a:gd name="T80" fmla="*/ 15644 w 21600"/>
              <a:gd name="T81" fmla="*/ 343 h 21600"/>
              <a:gd name="T82" fmla="*/ 16855 w 21600"/>
              <a:gd name="T83" fmla="*/ 5518 h 21600"/>
              <a:gd name="T84" fmla="*/ 15352 w 21600"/>
              <a:gd name="T85" fmla="*/ 12115 h 21600"/>
              <a:gd name="T86" fmla="*/ 14772 w 21600"/>
              <a:gd name="T87" fmla="*/ 18316 h 21600"/>
              <a:gd name="T88" fmla="*/ 15371 w 21600"/>
              <a:gd name="T89" fmla="*/ 9039 h 21600"/>
              <a:gd name="T90" fmla="*/ 16113 w 21600"/>
              <a:gd name="T91" fmla="*/ 5676 h 21600"/>
              <a:gd name="T92" fmla="*/ 15576 w 21600"/>
              <a:gd name="T93" fmla="*/ 3312 h 21600"/>
              <a:gd name="T94" fmla="*/ 15069 w 21600"/>
              <a:gd name="T95" fmla="*/ 9039 h 21600"/>
              <a:gd name="T96" fmla="*/ 17717 w 21600"/>
              <a:gd name="T97" fmla="*/ 18316 h 21600"/>
              <a:gd name="T98" fmla="*/ 18943 w 21600"/>
              <a:gd name="T99" fmla="*/ 3312 h 21600"/>
              <a:gd name="T100" fmla="*/ 20087 w 21600"/>
              <a:gd name="T101" fmla="*/ 342 h 21600"/>
              <a:gd name="T102" fmla="*/ 17180 w 21600"/>
              <a:gd name="T103" fmla="*/ 3312 h 21600"/>
              <a:gd name="T104" fmla="*/ 21514 w 21600"/>
              <a:gd name="T105" fmla="*/ 21600 h 21600"/>
              <a:gd name="T106" fmla="*/ 19546 w 21600"/>
              <a:gd name="T107" fmla="*/ 19052 h 21600"/>
              <a:gd name="T108" fmla="*/ 21514 w 21600"/>
              <a:gd name="T109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1600" h="21600">
                <a:moveTo>
                  <a:pt x="1547" y="342"/>
                </a:moveTo>
                <a:cubicBezTo>
                  <a:pt x="2035" y="342"/>
                  <a:pt x="2490" y="815"/>
                  <a:pt x="2763" y="2391"/>
                </a:cubicBezTo>
                <a:cubicBezTo>
                  <a:pt x="2978" y="3627"/>
                  <a:pt x="3050" y="5335"/>
                  <a:pt x="3050" y="7358"/>
                </a:cubicBezTo>
                <a:cubicBezTo>
                  <a:pt x="3050" y="10564"/>
                  <a:pt x="2873" y="13612"/>
                  <a:pt x="2514" y="15636"/>
                </a:cubicBezTo>
                <a:cubicBezTo>
                  <a:pt x="2136" y="17763"/>
                  <a:pt x="1609" y="18316"/>
                  <a:pt x="1015" y="18316"/>
                </a:cubicBezTo>
                <a:lnTo>
                  <a:pt x="0" y="18316"/>
                </a:lnTo>
                <a:lnTo>
                  <a:pt x="575" y="342"/>
                </a:lnTo>
                <a:lnTo>
                  <a:pt x="1547" y="342"/>
                </a:lnTo>
                <a:close/>
                <a:moveTo>
                  <a:pt x="843" y="15320"/>
                </a:moveTo>
                <a:lnTo>
                  <a:pt x="1092" y="15320"/>
                </a:lnTo>
                <a:cubicBezTo>
                  <a:pt x="1499" y="15320"/>
                  <a:pt x="1767" y="14768"/>
                  <a:pt x="1977" y="13113"/>
                </a:cubicBezTo>
                <a:cubicBezTo>
                  <a:pt x="2150" y="11746"/>
                  <a:pt x="2279" y="9670"/>
                  <a:pt x="2279" y="7438"/>
                </a:cubicBezTo>
                <a:cubicBezTo>
                  <a:pt x="2279" y="6070"/>
                  <a:pt x="2231" y="5099"/>
                  <a:pt x="2121" y="4414"/>
                </a:cubicBezTo>
                <a:cubicBezTo>
                  <a:pt x="2006" y="3706"/>
                  <a:pt x="1824" y="3338"/>
                  <a:pt x="1527" y="3338"/>
                </a:cubicBezTo>
                <a:lnTo>
                  <a:pt x="1226" y="3338"/>
                </a:lnTo>
                <a:lnTo>
                  <a:pt x="843" y="15320"/>
                </a:lnTo>
                <a:close/>
                <a:moveTo>
                  <a:pt x="3290" y="18316"/>
                </a:moveTo>
                <a:lnTo>
                  <a:pt x="4037" y="18316"/>
                </a:lnTo>
                <a:lnTo>
                  <a:pt x="4611" y="342"/>
                </a:lnTo>
                <a:lnTo>
                  <a:pt x="3864" y="342"/>
                </a:lnTo>
                <a:lnTo>
                  <a:pt x="3290" y="18316"/>
                </a:lnTo>
                <a:close/>
                <a:moveTo>
                  <a:pt x="6076" y="11011"/>
                </a:moveTo>
                <a:cubicBezTo>
                  <a:pt x="6373" y="11668"/>
                  <a:pt x="6493" y="12298"/>
                  <a:pt x="6493" y="13296"/>
                </a:cubicBezTo>
                <a:cubicBezTo>
                  <a:pt x="6493" y="15084"/>
                  <a:pt x="6124" y="15531"/>
                  <a:pt x="5818" y="15531"/>
                </a:cubicBezTo>
                <a:cubicBezTo>
                  <a:pt x="5502" y="15531"/>
                  <a:pt x="5133" y="15110"/>
                  <a:pt x="4865" y="14558"/>
                </a:cubicBezTo>
                <a:lnTo>
                  <a:pt x="4717" y="17606"/>
                </a:lnTo>
                <a:cubicBezTo>
                  <a:pt x="5085" y="18342"/>
                  <a:pt x="5463" y="18684"/>
                  <a:pt x="5813" y="18684"/>
                </a:cubicBezTo>
                <a:cubicBezTo>
                  <a:pt x="6234" y="18684"/>
                  <a:pt x="6589" y="18185"/>
                  <a:pt x="6843" y="17186"/>
                </a:cubicBezTo>
                <a:cubicBezTo>
                  <a:pt x="7115" y="16109"/>
                  <a:pt x="7221" y="14558"/>
                  <a:pt x="7221" y="12877"/>
                </a:cubicBezTo>
                <a:cubicBezTo>
                  <a:pt x="7221" y="10564"/>
                  <a:pt x="7015" y="9039"/>
                  <a:pt x="6555" y="8015"/>
                </a:cubicBezTo>
                <a:lnTo>
                  <a:pt x="6273" y="7385"/>
                </a:lnTo>
                <a:cubicBezTo>
                  <a:pt x="5894" y="6543"/>
                  <a:pt x="5789" y="5861"/>
                  <a:pt x="5789" y="5071"/>
                </a:cubicBezTo>
                <a:cubicBezTo>
                  <a:pt x="5789" y="3732"/>
                  <a:pt x="6062" y="3154"/>
                  <a:pt x="6407" y="3154"/>
                </a:cubicBezTo>
                <a:cubicBezTo>
                  <a:pt x="6641" y="3154"/>
                  <a:pt x="6905" y="3417"/>
                  <a:pt x="7163" y="3837"/>
                </a:cubicBezTo>
                <a:lnTo>
                  <a:pt x="7350" y="946"/>
                </a:lnTo>
                <a:cubicBezTo>
                  <a:pt x="7024" y="342"/>
                  <a:pt x="6728" y="0"/>
                  <a:pt x="6407" y="0"/>
                </a:cubicBezTo>
                <a:cubicBezTo>
                  <a:pt x="6033" y="0"/>
                  <a:pt x="5703" y="474"/>
                  <a:pt x="5473" y="1340"/>
                </a:cubicBezTo>
                <a:cubicBezTo>
                  <a:pt x="5219" y="2286"/>
                  <a:pt x="5076" y="3759"/>
                  <a:pt x="5076" y="5571"/>
                </a:cubicBezTo>
                <a:cubicBezTo>
                  <a:pt x="5076" y="7832"/>
                  <a:pt x="5301" y="9276"/>
                  <a:pt x="5794" y="10380"/>
                </a:cubicBezTo>
                <a:lnTo>
                  <a:pt x="6076" y="11011"/>
                </a:lnTo>
                <a:close/>
                <a:moveTo>
                  <a:pt x="10257" y="8803"/>
                </a:moveTo>
                <a:cubicBezTo>
                  <a:pt x="10132" y="9749"/>
                  <a:pt x="9931" y="10538"/>
                  <a:pt x="9668" y="11116"/>
                </a:cubicBezTo>
                <a:lnTo>
                  <a:pt x="10175" y="18316"/>
                </a:lnTo>
                <a:lnTo>
                  <a:pt x="9375" y="18316"/>
                </a:lnTo>
                <a:lnTo>
                  <a:pt x="8993" y="11799"/>
                </a:lnTo>
                <a:lnTo>
                  <a:pt x="8552" y="11799"/>
                </a:lnTo>
                <a:lnTo>
                  <a:pt x="8346" y="18316"/>
                </a:lnTo>
                <a:lnTo>
                  <a:pt x="7599" y="18316"/>
                </a:lnTo>
                <a:lnTo>
                  <a:pt x="8174" y="342"/>
                </a:lnTo>
                <a:lnTo>
                  <a:pt x="9289" y="342"/>
                </a:lnTo>
                <a:cubicBezTo>
                  <a:pt x="9696" y="342"/>
                  <a:pt x="9979" y="816"/>
                  <a:pt x="10156" y="1656"/>
                </a:cubicBezTo>
                <a:cubicBezTo>
                  <a:pt x="10352" y="2576"/>
                  <a:pt x="10434" y="3917"/>
                  <a:pt x="10434" y="5466"/>
                </a:cubicBezTo>
                <a:cubicBezTo>
                  <a:pt x="10434" y="6753"/>
                  <a:pt x="10376" y="7884"/>
                  <a:pt x="10257" y="8803"/>
                </a:cubicBezTo>
                <a:moveTo>
                  <a:pt x="8648" y="8830"/>
                </a:moveTo>
                <a:lnTo>
                  <a:pt x="8935" y="8830"/>
                </a:lnTo>
                <a:cubicBezTo>
                  <a:pt x="9165" y="8830"/>
                  <a:pt x="9371" y="8593"/>
                  <a:pt x="9510" y="7884"/>
                </a:cubicBezTo>
                <a:cubicBezTo>
                  <a:pt x="9620" y="7333"/>
                  <a:pt x="9692" y="6439"/>
                  <a:pt x="9692" y="5493"/>
                </a:cubicBezTo>
                <a:cubicBezTo>
                  <a:pt x="9692" y="4889"/>
                  <a:pt x="9663" y="4336"/>
                  <a:pt x="9596" y="3969"/>
                </a:cubicBezTo>
                <a:cubicBezTo>
                  <a:pt x="9519" y="3549"/>
                  <a:pt x="9400" y="3312"/>
                  <a:pt x="9198" y="3312"/>
                </a:cubicBezTo>
                <a:lnTo>
                  <a:pt x="8825" y="3312"/>
                </a:lnTo>
                <a:lnTo>
                  <a:pt x="8648" y="8830"/>
                </a:lnTo>
                <a:close/>
                <a:moveTo>
                  <a:pt x="12885" y="11169"/>
                </a:moveTo>
                <a:cubicBezTo>
                  <a:pt x="12828" y="12929"/>
                  <a:pt x="12746" y="13874"/>
                  <a:pt x="12651" y="14453"/>
                </a:cubicBezTo>
                <a:cubicBezTo>
                  <a:pt x="12555" y="15031"/>
                  <a:pt x="12387" y="15557"/>
                  <a:pt x="12134" y="15557"/>
                </a:cubicBezTo>
                <a:cubicBezTo>
                  <a:pt x="11928" y="15557"/>
                  <a:pt x="11779" y="15215"/>
                  <a:pt x="11688" y="14558"/>
                </a:cubicBezTo>
                <a:cubicBezTo>
                  <a:pt x="11612" y="14007"/>
                  <a:pt x="11588" y="13323"/>
                  <a:pt x="11588" y="12640"/>
                </a:cubicBezTo>
                <a:cubicBezTo>
                  <a:pt x="11588" y="12088"/>
                  <a:pt x="11602" y="11536"/>
                  <a:pt x="11621" y="10906"/>
                </a:cubicBezTo>
                <a:lnTo>
                  <a:pt x="11961" y="342"/>
                </a:lnTo>
                <a:lnTo>
                  <a:pt x="11229" y="342"/>
                </a:lnTo>
                <a:lnTo>
                  <a:pt x="10922" y="9855"/>
                </a:lnTo>
                <a:cubicBezTo>
                  <a:pt x="10884" y="11064"/>
                  <a:pt x="10865" y="12035"/>
                  <a:pt x="10865" y="12798"/>
                </a:cubicBezTo>
                <a:cubicBezTo>
                  <a:pt x="10865" y="14558"/>
                  <a:pt x="10970" y="16057"/>
                  <a:pt x="11190" y="17108"/>
                </a:cubicBezTo>
                <a:cubicBezTo>
                  <a:pt x="11415" y="18185"/>
                  <a:pt x="11741" y="18684"/>
                  <a:pt x="12114" y="18684"/>
                </a:cubicBezTo>
                <a:cubicBezTo>
                  <a:pt x="12454" y="18684"/>
                  <a:pt x="12809" y="18263"/>
                  <a:pt x="13077" y="17029"/>
                </a:cubicBezTo>
                <a:cubicBezTo>
                  <a:pt x="13283" y="16083"/>
                  <a:pt x="13441" y="14664"/>
                  <a:pt x="13513" y="12404"/>
                </a:cubicBezTo>
                <a:lnTo>
                  <a:pt x="13900" y="343"/>
                </a:lnTo>
                <a:lnTo>
                  <a:pt x="13230" y="343"/>
                </a:lnTo>
                <a:lnTo>
                  <a:pt x="12885" y="11169"/>
                </a:lnTo>
                <a:close/>
                <a:moveTo>
                  <a:pt x="14772" y="18316"/>
                </a:moveTo>
                <a:lnTo>
                  <a:pt x="14025" y="18316"/>
                </a:lnTo>
                <a:lnTo>
                  <a:pt x="14600" y="343"/>
                </a:lnTo>
                <a:lnTo>
                  <a:pt x="15644" y="343"/>
                </a:lnTo>
                <a:cubicBezTo>
                  <a:pt x="16084" y="343"/>
                  <a:pt x="16400" y="921"/>
                  <a:pt x="16587" y="1814"/>
                </a:cubicBezTo>
                <a:cubicBezTo>
                  <a:pt x="16735" y="2523"/>
                  <a:pt x="16855" y="3679"/>
                  <a:pt x="16855" y="5518"/>
                </a:cubicBezTo>
                <a:cubicBezTo>
                  <a:pt x="16855" y="7438"/>
                  <a:pt x="16721" y="9066"/>
                  <a:pt x="16524" y="10117"/>
                </a:cubicBezTo>
                <a:cubicBezTo>
                  <a:pt x="16261" y="11536"/>
                  <a:pt x="15859" y="12115"/>
                  <a:pt x="15352" y="12115"/>
                </a:cubicBezTo>
                <a:lnTo>
                  <a:pt x="14968" y="12115"/>
                </a:lnTo>
                <a:lnTo>
                  <a:pt x="14772" y="18316"/>
                </a:lnTo>
                <a:close/>
                <a:moveTo>
                  <a:pt x="15069" y="9039"/>
                </a:moveTo>
                <a:lnTo>
                  <a:pt x="15371" y="9039"/>
                </a:lnTo>
                <a:cubicBezTo>
                  <a:pt x="15581" y="9039"/>
                  <a:pt x="15759" y="8856"/>
                  <a:pt x="15897" y="8279"/>
                </a:cubicBezTo>
                <a:cubicBezTo>
                  <a:pt x="16046" y="7647"/>
                  <a:pt x="16113" y="6675"/>
                  <a:pt x="16113" y="5676"/>
                </a:cubicBezTo>
                <a:cubicBezTo>
                  <a:pt x="16113" y="4967"/>
                  <a:pt x="16079" y="4468"/>
                  <a:pt x="16027" y="4126"/>
                </a:cubicBezTo>
                <a:cubicBezTo>
                  <a:pt x="15955" y="3654"/>
                  <a:pt x="15821" y="3312"/>
                  <a:pt x="15576" y="3312"/>
                </a:cubicBezTo>
                <a:lnTo>
                  <a:pt x="15251" y="3312"/>
                </a:lnTo>
                <a:lnTo>
                  <a:pt x="15069" y="9039"/>
                </a:lnTo>
                <a:close/>
                <a:moveTo>
                  <a:pt x="18196" y="3312"/>
                </a:moveTo>
                <a:lnTo>
                  <a:pt x="17717" y="18316"/>
                </a:lnTo>
                <a:lnTo>
                  <a:pt x="18464" y="18316"/>
                </a:lnTo>
                <a:lnTo>
                  <a:pt x="18943" y="3312"/>
                </a:lnTo>
                <a:lnTo>
                  <a:pt x="19934" y="3312"/>
                </a:lnTo>
                <a:lnTo>
                  <a:pt x="20087" y="342"/>
                </a:lnTo>
                <a:lnTo>
                  <a:pt x="17276" y="342"/>
                </a:lnTo>
                <a:lnTo>
                  <a:pt x="17180" y="3312"/>
                </a:lnTo>
                <a:lnTo>
                  <a:pt x="18196" y="3312"/>
                </a:lnTo>
                <a:close/>
                <a:moveTo>
                  <a:pt x="21514" y="21600"/>
                </a:moveTo>
                <a:lnTo>
                  <a:pt x="21600" y="19052"/>
                </a:lnTo>
                <a:lnTo>
                  <a:pt x="19546" y="19052"/>
                </a:lnTo>
                <a:lnTo>
                  <a:pt x="19460" y="21600"/>
                </a:lnTo>
                <a:lnTo>
                  <a:pt x="21514" y="21600"/>
                </a:lnTo>
                <a:close/>
                <a:moveTo>
                  <a:pt x="21514" y="21600"/>
                </a:moveTo>
              </a:path>
            </a:pathLst>
          </a:custGeom>
          <a:solidFill>
            <a:schemeClr val="accent1">
              <a:alpha val="25000"/>
            </a:schemeClr>
          </a:solidFill>
          <a:ln>
            <a:noFill/>
          </a:ln>
        </p:spPr>
        <p:txBody>
          <a:bodyPr lIns="0" tIns="0" rIns="0" bIns="0"/>
          <a:lstStyle/>
          <a:p>
            <a:endParaRPr lang="es-ES">
              <a:solidFill>
                <a:srgbClr val="003245"/>
              </a:solidFill>
            </a:endParaRPr>
          </a:p>
        </p:txBody>
      </p:sp>
      <p:sp>
        <p:nvSpPr>
          <p:cNvPr id="21" name="AutoShape 3"/>
          <p:cNvSpPr>
            <a:spLocks noChangeAspect="1"/>
          </p:cNvSpPr>
          <p:nvPr userDrawn="1"/>
        </p:nvSpPr>
        <p:spPr bwMode="auto">
          <a:xfrm>
            <a:off x="6481013" y="476250"/>
            <a:ext cx="2405046" cy="423427"/>
          </a:xfrm>
          <a:custGeom>
            <a:avLst/>
            <a:gdLst>
              <a:gd name="T0" fmla="*/ 2763 w 21600"/>
              <a:gd name="T1" fmla="*/ 2391 h 21600"/>
              <a:gd name="T2" fmla="*/ 2514 w 21600"/>
              <a:gd name="T3" fmla="*/ 15636 h 21600"/>
              <a:gd name="T4" fmla="*/ 0 w 21600"/>
              <a:gd name="T5" fmla="*/ 18316 h 21600"/>
              <a:gd name="T6" fmla="*/ 1547 w 21600"/>
              <a:gd name="T7" fmla="*/ 342 h 21600"/>
              <a:gd name="T8" fmla="*/ 1092 w 21600"/>
              <a:gd name="T9" fmla="*/ 15320 h 21600"/>
              <a:gd name="T10" fmla="*/ 2279 w 21600"/>
              <a:gd name="T11" fmla="*/ 7438 h 21600"/>
              <a:gd name="T12" fmla="*/ 1527 w 21600"/>
              <a:gd name="T13" fmla="*/ 3338 h 21600"/>
              <a:gd name="T14" fmla="*/ 843 w 21600"/>
              <a:gd name="T15" fmla="*/ 15320 h 21600"/>
              <a:gd name="T16" fmla="*/ 4037 w 21600"/>
              <a:gd name="T17" fmla="*/ 18316 h 21600"/>
              <a:gd name="T18" fmla="*/ 3864 w 21600"/>
              <a:gd name="T19" fmla="*/ 342 h 21600"/>
              <a:gd name="T20" fmla="*/ 6076 w 21600"/>
              <a:gd name="T21" fmla="*/ 11011 h 21600"/>
              <a:gd name="T22" fmla="*/ 5818 w 21600"/>
              <a:gd name="T23" fmla="*/ 15531 h 21600"/>
              <a:gd name="T24" fmla="*/ 4717 w 21600"/>
              <a:gd name="T25" fmla="*/ 17606 h 21600"/>
              <a:gd name="T26" fmla="*/ 6843 w 21600"/>
              <a:gd name="T27" fmla="*/ 17186 h 21600"/>
              <a:gd name="T28" fmla="*/ 6555 w 21600"/>
              <a:gd name="T29" fmla="*/ 8015 h 21600"/>
              <a:gd name="T30" fmla="*/ 5789 w 21600"/>
              <a:gd name="T31" fmla="*/ 5071 h 21600"/>
              <a:gd name="T32" fmla="*/ 7163 w 21600"/>
              <a:gd name="T33" fmla="*/ 3837 h 21600"/>
              <a:gd name="T34" fmla="*/ 6407 w 21600"/>
              <a:gd name="T35" fmla="*/ 0 h 21600"/>
              <a:gd name="T36" fmla="*/ 5076 w 21600"/>
              <a:gd name="T37" fmla="*/ 5571 h 21600"/>
              <a:gd name="T38" fmla="*/ 6076 w 21600"/>
              <a:gd name="T39" fmla="*/ 11011 h 21600"/>
              <a:gd name="T40" fmla="*/ 9668 w 21600"/>
              <a:gd name="T41" fmla="*/ 11116 h 21600"/>
              <a:gd name="T42" fmla="*/ 9375 w 21600"/>
              <a:gd name="T43" fmla="*/ 18316 h 21600"/>
              <a:gd name="T44" fmla="*/ 8552 w 21600"/>
              <a:gd name="T45" fmla="*/ 11799 h 21600"/>
              <a:gd name="T46" fmla="*/ 7599 w 21600"/>
              <a:gd name="T47" fmla="*/ 18316 h 21600"/>
              <a:gd name="T48" fmla="*/ 9289 w 21600"/>
              <a:gd name="T49" fmla="*/ 342 h 21600"/>
              <a:gd name="T50" fmla="*/ 10434 w 21600"/>
              <a:gd name="T51" fmla="*/ 5466 h 21600"/>
              <a:gd name="T52" fmla="*/ 8648 w 21600"/>
              <a:gd name="T53" fmla="*/ 8830 h 21600"/>
              <a:gd name="T54" fmla="*/ 9510 w 21600"/>
              <a:gd name="T55" fmla="*/ 7884 h 21600"/>
              <a:gd name="T56" fmla="*/ 9596 w 21600"/>
              <a:gd name="T57" fmla="*/ 3969 h 21600"/>
              <a:gd name="T58" fmla="*/ 8825 w 21600"/>
              <a:gd name="T59" fmla="*/ 3312 h 21600"/>
              <a:gd name="T60" fmla="*/ 12885 w 21600"/>
              <a:gd name="T61" fmla="*/ 11169 h 21600"/>
              <a:gd name="T62" fmla="*/ 12134 w 21600"/>
              <a:gd name="T63" fmla="*/ 15557 h 21600"/>
              <a:gd name="T64" fmla="*/ 11588 w 21600"/>
              <a:gd name="T65" fmla="*/ 12640 h 21600"/>
              <a:gd name="T66" fmla="*/ 11961 w 21600"/>
              <a:gd name="T67" fmla="*/ 342 h 21600"/>
              <a:gd name="T68" fmla="*/ 10922 w 21600"/>
              <a:gd name="T69" fmla="*/ 9855 h 21600"/>
              <a:gd name="T70" fmla="*/ 11190 w 21600"/>
              <a:gd name="T71" fmla="*/ 17108 h 21600"/>
              <a:gd name="T72" fmla="*/ 13077 w 21600"/>
              <a:gd name="T73" fmla="*/ 17029 h 21600"/>
              <a:gd name="T74" fmla="*/ 13900 w 21600"/>
              <a:gd name="T75" fmla="*/ 343 h 21600"/>
              <a:gd name="T76" fmla="*/ 12885 w 21600"/>
              <a:gd name="T77" fmla="*/ 11169 h 21600"/>
              <a:gd name="T78" fmla="*/ 14025 w 21600"/>
              <a:gd name="T79" fmla="*/ 18316 h 21600"/>
              <a:gd name="T80" fmla="*/ 15644 w 21600"/>
              <a:gd name="T81" fmla="*/ 343 h 21600"/>
              <a:gd name="T82" fmla="*/ 16855 w 21600"/>
              <a:gd name="T83" fmla="*/ 5518 h 21600"/>
              <a:gd name="T84" fmla="*/ 15352 w 21600"/>
              <a:gd name="T85" fmla="*/ 12115 h 21600"/>
              <a:gd name="T86" fmla="*/ 14772 w 21600"/>
              <a:gd name="T87" fmla="*/ 18316 h 21600"/>
              <a:gd name="T88" fmla="*/ 15371 w 21600"/>
              <a:gd name="T89" fmla="*/ 9039 h 21600"/>
              <a:gd name="T90" fmla="*/ 16113 w 21600"/>
              <a:gd name="T91" fmla="*/ 5676 h 21600"/>
              <a:gd name="T92" fmla="*/ 15576 w 21600"/>
              <a:gd name="T93" fmla="*/ 3312 h 21600"/>
              <a:gd name="T94" fmla="*/ 15069 w 21600"/>
              <a:gd name="T95" fmla="*/ 9039 h 21600"/>
              <a:gd name="T96" fmla="*/ 17717 w 21600"/>
              <a:gd name="T97" fmla="*/ 18316 h 21600"/>
              <a:gd name="T98" fmla="*/ 18943 w 21600"/>
              <a:gd name="T99" fmla="*/ 3312 h 21600"/>
              <a:gd name="T100" fmla="*/ 20087 w 21600"/>
              <a:gd name="T101" fmla="*/ 342 h 21600"/>
              <a:gd name="T102" fmla="*/ 17180 w 21600"/>
              <a:gd name="T103" fmla="*/ 3312 h 21600"/>
              <a:gd name="T104" fmla="*/ 21514 w 21600"/>
              <a:gd name="T105" fmla="*/ 21600 h 21600"/>
              <a:gd name="T106" fmla="*/ 19546 w 21600"/>
              <a:gd name="T107" fmla="*/ 19052 h 21600"/>
              <a:gd name="T108" fmla="*/ 21514 w 21600"/>
              <a:gd name="T109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1600" h="21600">
                <a:moveTo>
                  <a:pt x="1547" y="342"/>
                </a:moveTo>
                <a:cubicBezTo>
                  <a:pt x="2035" y="342"/>
                  <a:pt x="2490" y="815"/>
                  <a:pt x="2763" y="2391"/>
                </a:cubicBezTo>
                <a:cubicBezTo>
                  <a:pt x="2978" y="3627"/>
                  <a:pt x="3050" y="5335"/>
                  <a:pt x="3050" y="7358"/>
                </a:cubicBezTo>
                <a:cubicBezTo>
                  <a:pt x="3050" y="10564"/>
                  <a:pt x="2873" y="13612"/>
                  <a:pt x="2514" y="15636"/>
                </a:cubicBezTo>
                <a:cubicBezTo>
                  <a:pt x="2136" y="17763"/>
                  <a:pt x="1609" y="18316"/>
                  <a:pt x="1015" y="18316"/>
                </a:cubicBezTo>
                <a:lnTo>
                  <a:pt x="0" y="18316"/>
                </a:lnTo>
                <a:lnTo>
                  <a:pt x="575" y="342"/>
                </a:lnTo>
                <a:lnTo>
                  <a:pt x="1547" y="342"/>
                </a:lnTo>
                <a:close/>
                <a:moveTo>
                  <a:pt x="843" y="15320"/>
                </a:moveTo>
                <a:lnTo>
                  <a:pt x="1092" y="15320"/>
                </a:lnTo>
                <a:cubicBezTo>
                  <a:pt x="1499" y="15320"/>
                  <a:pt x="1767" y="14768"/>
                  <a:pt x="1977" y="13113"/>
                </a:cubicBezTo>
                <a:cubicBezTo>
                  <a:pt x="2150" y="11746"/>
                  <a:pt x="2279" y="9670"/>
                  <a:pt x="2279" y="7438"/>
                </a:cubicBezTo>
                <a:cubicBezTo>
                  <a:pt x="2279" y="6070"/>
                  <a:pt x="2231" y="5099"/>
                  <a:pt x="2121" y="4414"/>
                </a:cubicBezTo>
                <a:cubicBezTo>
                  <a:pt x="2006" y="3706"/>
                  <a:pt x="1824" y="3338"/>
                  <a:pt x="1527" y="3338"/>
                </a:cubicBezTo>
                <a:lnTo>
                  <a:pt x="1226" y="3338"/>
                </a:lnTo>
                <a:lnTo>
                  <a:pt x="843" y="15320"/>
                </a:lnTo>
                <a:close/>
                <a:moveTo>
                  <a:pt x="3290" y="18316"/>
                </a:moveTo>
                <a:lnTo>
                  <a:pt x="4037" y="18316"/>
                </a:lnTo>
                <a:lnTo>
                  <a:pt x="4611" y="342"/>
                </a:lnTo>
                <a:lnTo>
                  <a:pt x="3864" y="342"/>
                </a:lnTo>
                <a:lnTo>
                  <a:pt x="3290" y="18316"/>
                </a:lnTo>
                <a:close/>
                <a:moveTo>
                  <a:pt x="6076" y="11011"/>
                </a:moveTo>
                <a:cubicBezTo>
                  <a:pt x="6373" y="11668"/>
                  <a:pt x="6493" y="12298"/>
                  <a:pt x="6493" y="13296"/>
                </a:cubicBezTo>
                <a:cubicBezTo>
                  <a:pt x="6493" y="15084"/>
                  <a:pt x="6124" y="15531"/>
                  <a:pt x="5818" y="15531"/>
                </a:cubicBezTo>
                <a:cubicBezTo>
                  <a:pt x="5502" y="15531"/>
                  <a:pt x="5133" y="15110"/>
                  <a:pt x="4865" y="14558"/>
                </a:cubicBezTo>
                <a:lnTo>
                  <a:pt x="4717" y="17606"/>
                </a:lnTo>
                <a:cubicBezTo>
                  <a:pt x="5085" y="18342"/>
                  <a:pt x="5463" y="18684"/>
                  <a:pt x="5813" y="18684"/>
                </a:cubicBezTo>
                <a:cubicBezTo>
                  <a:pt x="6234" y="18684"/>
                  <a:pt x="6589" y="18185"/>
                  <a:pt x="6843" y="17186"/>
                </a:cubicBezTo>
                <a:cubicBezTo>
                  <a:pt x="7115" y="16109"/>
                  <a:pt x="7221" y="14558"/>
                  <a:pt x="7221" y="12877"/>
                </a:cubicBezTo>
                <a:cubicBezTo>
                  <a:pt x="7221" y="10564"/>
                  <a:pt x="7015" y="9039"/>
                  <a:pt x="6555" y="8015"/>
                </a:cubicBezTo>
                <a:lnTo>
                  <a:pt x="6273" y="7385"/>
                </a:lnTo>
                <a:cubicBezTo>
                  <a:pt x="5894" y="6543"/>
                  <a:pt x="5789" y="5861"/>
                  <a:pt x="5789" y="5071"/>
                </a:cubicBezTo>
                <a:cubicBezTo>
                  <a:pt x="5789" y="3732"/>
                  <a:pt x="6062" y="3154"/>
                  <a:pt x="6407" y="3154"/>
                </a:cubicBezTo>
                <a:cubicBezTo>
                  <a:pt x="6641" y="3154"/>
                  <a:pt x="6905" y="3417"/>
                  <a:pt x="7163" y="3837"/>
                </a:cubicBezTo>
                <a:lnTo>
                  <a:pt x="7350" y="946"/>
                </a:lnTo>
                <a:cubicBezTo>
                  <a:pt x="7024" y="342"/>
                  <a:pt x="6728" y="0"/>
                  <a:pt x="6407" y="0"/>
                </a:cubicBezTo>
                <a:cubicBezTo>
                  <a:pt x="6033" y="0"/>
                  <a:pt x="5703" y="474"/>
                  <a:pt x="5473" y="1340"/>
                </a:cubicBezTo>
                <a:cubicBezTo>
                  <a:pt x="5219" y="2286"/>
                  <a:pt x="5076" y="3759"/>
                  <a:pt x="5076" y="5571"/>
                </a:cubicBezTo>
                <a:cubicBezTo>
                  <a:pt x="5076" y="7832"/>
                  <a:pt x="5301" y="9276"/>
                  <a:pt x="5794" y="10380"/>
                </a:cubicBezTo>
                <a:lnTo>
                  <a:pt x="6076" y="11011"/>
                </a:lnTo>
                <a:close/>
                <a:moveTo>
                  <a:pt x="10257" y="8803"/>
                </a:moveTo>
                <a:cubicBezTo>
                  <a:pt x="10132" y="9749"/>
                  <a:pt x="9931" y="10538"/>
                  <a:pt x="9668" y="11116"/>
                </a:cubicBezTo>
                <a:lnTo>
                  <a:pt x="10175" y="18316"/>
                </a:lnTo>
                <a:lnTo>
                  <a:pt x="9375" y="18316"/>
                </a:lnTo>
                <a:lnTo>
                  <a:pt x="8993" y="11799"/>
                </a:lnTo>
                <a:lnTo>
                  <a:pt x="8552" y="11799"/>
                </a:lnTo>
                <a:lnTo>
                  <a:pt x="8346" y="18316"/>
                </a:lnTo>
                <a:lnTo>
                  <a:pt x="7599" y="18316"/>
                </a:lnTo>
                <a:lnTo>
                  <a:pt x="8174" y="342"/>
                </a:lnTo>
                <a:lnTo>
                  <a:pt x="9289" y="342"/>
                </a:lnTo>
                <a:cubicBezTo>
                  <a:pt x="9696" y="342"/>
                  <a:pt x="9979" y="816"/>
                  <a:pt x="10156" y="1656"/>
                </a:cubicBezTo>
                <a:cubicBezTo>
                  <a:pt x="10352" y="2576"/>
                  <a:pt x="10434" y="3917"/>
                  <a:pt x="10434" y="5466"/>
                </a:cubicBezTo>
                <a:cubicBezTo>
                  <a:pt x="10434" y="6753"/>
                  <a:pt x="10376" y="7884"/>
                  <a:pt x="10257" y="8803"/>
                </a:cubicBezTo>
                <a:moveTo>
                  <a:pt x="8648" y="8830"/>
                </a:moveTo>
                <a:lnTo>
                  <a:pt x="8935" y="8830"/>
                </a:lnTo>
                <a:cubicBezTo>
                  <a:pt x="9165" y="8830"/>
                  <a:pt x="9371" y="8593"/>
                  <a:pt x="9510" y="7884"/>
                </a:cubicBezTo>
                <a:cubicBezTo>
                  <a:pt x="9620" y="7333"/>
                  <a:pt x="9692" y="6439"/>
                  <a:pt x="9692" y="5493"/>
                </a:cubicBezTo>
                <a:cubicBezTo>
                  <a:pt x="9692" y="4889"/>
                  <a:pt x="9663" y="4336"/>
                  <a:pt x="9596" y="3969"/>
                </a:cubicBezTo>
                <a:cubicBezTo>
                  <a:pt x="9519" y="3549"/>
                  <a:pt x="9400" y="3312"/>
                  <a:pt x="9198" y="3312"/>
                </a:cubicBezTo>
                <a:lnTo>
                  <a:pt x="8825" y="3312"/>
                </a:lnTo>
                <a:lnTo>
                  <a:pt x="8648" y="8830"/>
                </a:lnTo>
                <a:close/>
                <a:moveTo>
                  <a:pt x="12885" y="11169"/>
                </a:moveTo>
                <a:cubicBezTo>
                  <a:pt x="12828" y="12929"/>
                  <a:pt x="12746" y="13874"/>
                  <a:pt x="12651" y="14453"/>
                </a:cubicBezTo>
                <a:cubicBezTo>
                  <a:pt x="12555" y="15031"/>
                  <a:pt x="12387" y="15557"/>
                  <a:pt x="12134" y="15557"/>
                </a:cubicBezTo>
                <a:cubicBezTo>
                  <a:pt x="11928" y="15557"/>
                  <a:pt x="11779" y="15215"/>
                  <a:pt x="11688" y="14558"/>
                </a:cubicBezTo>
                <a:cubicBezTo>
                  <a:pt x="11612" y="14007"/>
                  <a:pt x="11588" y="13323"/>
                  <a:pt x="11588" y="12640"/>
                </a:cubicBezTo>
                <a:cubicBezTo>
                  <a:pt x="11588" y="12088"/>
                  <a:pt x="11602" y="11536"/>
                  <a:pt x="11621" y="10906"/>
                </a:cubicBezTo>
                <a:lnTo>
                  <a:pt x="11961" y="342"/>
                </a:lnTo>
                <a:lnTo>
                  <a:pt x="11229" y="342"/>
                </a:lnTo>
                <a:lnTo>
                  <a:pt x="10922" y="9855"/>
                </a:lnTo>
                <a:cubicBezTo>
                  <a:pt x="10884" y="11064"/>
                  <a:pt x="10865" y="12035"/>
                  <a:pt x="10865" y="12798"/>
                </a:cubicBezTo>
                <a:cubicBezTo>
                  <a:pt x="10865" y="14558"/>
                  <a:pt x="10970" y="16057"/>
                  <a:pt x="11190" y="17108"/>
                </a:cubicBezTo>
                <a:cubicBezTo>
                  <a:pt x="11415" y="18185"/>
                  <a:pt x="11741" y="18684"/>
                  <a:pt x="12114" y="18684"/>
                </a:cubicBezTo>
                <a:cubicBezTo>
                  <a:pt x="12454" y="18684"/>
                  <a:pt x="12809" y="18263"/>
                  <a:pt x="13077" y="17029"/>
                </a:cubicBezTo>
                <a:cubicBezTo>
                  <a:pt x="13283" y="16083"/>
                  <a:pt x="13441" y="14664"/>
                  <a:pt x="13513" y="12404"/>
                </a:cubicBezTo>
                <a:lnTo>
                  <a:pt x="13900" y="343"/>
                </a:lnTo>
                <a:lnTo>
                  <a:pt x="13230" y="343"/>
                </a:lnTo>
                <a:lnTo>
                  <a:pt x="12885" y="11169"/>
                </a:lnTo>
                <a:close/>
                <a:moveTo>
                  <a:pt x="14772" y="18316"/>
                </a:moveTo>
                <a:lnTo>
                  <a:pt x="14025" y="18316"/>
                </a:lnTo>
                <a:lnTo>
                  <a:pt x="14600" y="343"/>
                </a:lnTo>
                <a:lnTo>
                  <a:pt x="15644" y="343"/>
                </a:lnTo>
                <a:cubicBezTo>
                  <a:pt x="16084" y="343"/>
                  <a:pt x="16400" y="921"/>
                  <a:pt x="16587" y="1814"/>
                </a:cubicBezTo>
                <a:cubicBezTo>
                  <a:pt x="16735" y="2523"/>
                  <a:pt x="16855" y="3679"/>
                  <a:pt x="16855" y="5518"/>
                </a:cubicBezTo>
                <a:cubicBezTo>
                  <a:pt x="16855" y="7438"/>
                  <a:pt x="16721" y="9066"/>
                  <a:pt x="16524" y="10117"/>
                </a:cubicBezTo>
                <a:cubicBezTo>
                  <a:pt x="16261" y="11536"/>
                  <a:pt x="15859" y="12115"/>
                  <a:pt x="15352" y="12115"/>
                </a:cubicBezTo>
                <a:lnTo>
                  <a:pt x="14968" y="12115"/>
                </a:lnTo>
                <a:lnTo>
                  <a:pt x="14772" y="18316"/>
                </a:lnTo>
                <a:close/>
                <a:moveTo>
                  <a:pt x="15069" y="9039"/>
                </a:moveTo>
                <a:lnTo>
                  <a:pt x="15371" y="9039"/>
                </a:lnTo>
                <a:cubicBezTo>
                  <a:pt x="15581" y="9039"/>
                  <a:pt x="15759" y="8856"/>
                  <a:pt x="15897" y="8279"/>
                </a:cubicBezTo>
                <a:cubicBezTo>
                  <a:pt x="16046" y="7647"/>
                  <a:pt x="16113" y="6675"/>
                  <a:pt x="16113" y="5676"/>
                </a:cubicBezTo>
                <a:cubicBezTo>
                  <a:pt x="16113" y="4967"/>
                  <a:pt x="16079" y="4468"/>
                  <a:pt x="16027" y="4126"/>
                </a:cubicBezTo>
                <a:cubicBezTo>
                  <a:pt x="15955" y="3654"/>
                  <a:pt x="15821" y="3312"/>
                  <a:pt x="15576" y="3312"/>
                </a:cubicBezTo>
                <a:lnTo>
                  <a:pt x="15251" y="3312"/>
                </a:lnTo>
                <a:lnTo>
                  <a:pt x="15069" y="9039"/>
                </a:lnTo>
                <a:close/>
                <a:moveTo>
                  <a:pt x="18196" y="3312"/>
                </a:moveTo>
                <a:lnTo>
                  <a:pt x="17717" y="18316"/>
                </a:lnTo>
                <a:lnTo>
                  <a:pt x="18464" y="18316"/>
                </a:lnTo>
                <a:lnTo>
                  <a:pt x="18943" y="3312"/>
                </a:lnTo>
                <a:lnTo>
                  <a:pt x="19934" y="3312"/>
                </a:lnTo>
                <a:lnTo>
                  <a:pt x="20087" y="342"/>
                </a:lnTo>
                <a:lnTo>
                  <a:pt x="17276" y="342"/>
                </a:lnTo>
                <a:lnTo>
                  <a:pt x="17180" y="3312"/>
                </a:lnTo>
                <a:lnTo>
                  <a:pt x="18196" y="3312"/>
                </a:lnTo>
                <a:close/>
                <a:moveTo>
                  <a:pt x="21514" y="21600"/>
                </a:moveTo>
                <a:lnTo>
                  <a:pt x="21600" y="19052"/>
                </a:lnTo>
                <a:lnTo>
                  <a:pt x="19546" y="19052"/>
                </a:lnTo>
                <a:lnTo>
                  <a:pt x="19460" y="21600"/>
                </a:lnTo>
                <a:lnTo>
                  <a:pt x="21514" y="21600"/>
                </a:lnTo>
                <a:close/>
                <a:moveTo>
                  <a:pt x="21514" y="21600"/>
                </a:moveTo>
              </a:path>
            </a:pathLst>
          </a:custGeom>
          <a:solidFill>
            <a:schemeClr val="accent1">
              <a:alpha val="60000"/>
            </a:schemeClr>
          </a:solidFill>
          <a:ln>
            <a:noFill/>
          </a:ln>
        </p:spPr>
        <p:txBody>
          <a:bodyPr lIns="0" tIns="0" rIns="0" bIns="0"/>
          <a:lstStyle/>
          <a:p>
            <a:endParaRPr lang="es-ES">
              <a:solidFill>
                <a:srgbClr val="003245"/>
              </a:solidFill>
            </a:endParaRPr>
          </a:p>
        </p:txBody>
      </p:sp>
      <p:grpSp>
        <p:nvGrpSpPr>
          <p:cNvPr id="15" name="Grupo 14"/>
          <p:cNvGrpSpPr/>
          <p:nvPr userDrawn="1"/>
        </p:nvGrpSpPr>
        <p:grpSpPr>
          <a:xfrm>
            <a:off x="58864" y="6464175"/>
            <a:ext cx="2103461" cy="359735"/>
            <a:chOff x="58864" y="6464175"/>
            <a:chExt cx="2103461" cy="359735"/>
          </a:xfrm>
        </p:grpSpPr>
        <p:grpSp>
          <p:nvGrpSpPr>
            <p:cNvPr id="16" name="Group 4"/>
            <p:cNvGrpSpPr>
              <a:grpSpLocks/>
            </p:cNvGrpSpPr>
            <p:nvPr userDrawn="1"/>
          </p:nvGrpSpPr>
          <p:grpSpPr bwMode="auto">
            <a:xfrm>
              <a:off x="179512" y="6464175"/>
              <a:ext cx="888250" cy="136799"/>
              <a:chOff x="-14" y="12"/>
              <a:chExt cx="605" cy="99"/>
            </a:xfrm>
          </p:grpSpPr>
          <p:sp>
            <p:nvSpPr>
              <p:cNvPr id="18" name="AutoShape 2"/>
              <p:cNvSpPr>
                <a:spLocks/>
              </p:cNvSpPr>
              <p:nvPr/>
            </p:nvSpPr>
            <p:spPr bwMode="auto">
              <a:xfrm>
                <a:off x="-14" y="12"/>
                <a:ext cx="546" cy="96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w 21600"/>
                  <a:gd name="T13" fmla="*/ 0 h 21600"/>
                  <a:gd name="T14" fmla="*/ 0 w 21600"/>
                  <a:gd name="T15" fmla="*/ 0 h 21600"/>
                  <a:gd name="T16" fmla="*/ 0 w 21600"/>
                  <a:gd name="T17" fmla="*/ 0 h 21600"/>
                  <a:gd name="T18" fmla="*/ 0 w 21600"/>
                  <a:gd name="T19" fmla="*/ 0 h 21600"/>
                  <a:gd name="T20" fmla="*/ 0 w 21600"/>
                  <a:gd name="T21" fmla="*/ 0 h 21600"/>
                  <a:gd name="T22" fmla="*/ 0 w 21600"/>
                  <a:gd name="T23" fmla="*/ 0 h 21600"/>
                  <a:gd name="T24" fmla="*/ 0 w 21600"/>
                  <a:gd name="T25" fmla="*/ 0 h 21600"/>
                  <a:gd name="T26" fmla="*/ 0 w 21600"/>
                  <a:gd name="T27" fmla="*/ 0 h 21600"/>
                  <a:gd name="T28" fmla="*/ 0 w 21600"/>
                  <a:gd name="T29" fmla="*/ 0 h 21600"/>
                  <a:gd name="T30" fmla="*/ 0 w 21600"/>
                  <a:gd name="T31" fmla="*/ 0 h 21600"/>
                  <a:gd name="T32" fmla="*/ 0 w 21600"/>
                  <a:gd name="T33" fmla="*/ 0 h 21600"/>
                  <a:gd name="T34" fmla="*/ 0 w 21600"/>
                  <a:gd name="T35" fmla="*/ 0 h 21600"/>
                  <a:gd name="T36" fmla="*/ 0 w 21600"/>
                  <a:gd name="T37" fmla="*/ 0 h 21600"/>
                  <a:gd name="T38" fmla="*/ 0 w 21600"/>
                  <a:gd name="T39" fmla="*/ 0 h 21600"/>
                  <a:gd name="T40" fmla="*/ 0 w 21600"/>
                  <a:gd name="T41" fmla="*/ 0 h 21600"/>
                  <a:gd name="T42" fmla="*/ 0 w 21600"/>
                  <a:gd name="T43" fmla="*/ 0 h 21600"/>
                  <a:gd name="T44" fmla="*/ 0 w 21600"/>
                  <a:gd name="T45" fmla="*/ 0 h 21600"/>
                  <a:gd name="T46" fmla="*/ 0 w 21600"/>
                  <a:gd name="T47" fmla="*/ 0 h 21600"/>
                  <a:gd name="T48" fmla="*/ 0 w 21600"/>
                  <a:gd name="T49" fmla="*/ 0 h 21600"/>
                  <a:gd name="T50" fmla="*/ 0 w 21600"/>
                  <a:gd name="T51" fmla="*/ 0 h 21600"/>
                  <a:gd name="T52" fmla="*/ 0 w 21600"/>
                  <a:gd name="T53" fmla="*/ 0 h 21600"/>
                  <a:gd name="T54" fmla="*/ 0 w 21600"/>
                  <a:gd name="T55" fmla="*/ 0 h 21600"/>
                  <a:gd name="T56" fmla="*/ 0 w 21600"/>
                  <a:gd name="T57" fmla="*/ 0 h 21600"/>
                  <a:gd name="T58" fmla="*/ 0 w 21600"/>
                  <a:gd name="T59" fmla="*/ 0 h 21600"/>
                  <a:gd name="T60" fmla="*/ 0 w 21600"/>
                  <a:gd name="T61" fmla="*/ 0 h 21600"/>
                  <a:gd name="T62" fmla="*/ 0 w 21600"/>
                  <a:gd name="T63" fmla="*/ 0 h 21600"/>
                  <a:gd name="T64" fmla="*/ 0 w 21600"/>
                  <a:gd name="T65" fmla="*/ 0 h 21600"/>
                  <a:gd name="T66" fmla="*/ 0 w 21600"/>
                  <a:gd name="T67" fmla="*/ 0 h 21600"/>
                  <a:gd name="T68" fmla="*/ 0 w 21600"/>
                  <a:gd name="T69" fmla="*/ 0 h 21600"/>
                  <a:gd name="T70" fmla="*/ 0 w 21600"/>
                  <a:gd name="T71" fmla="*/ 0 h 21600"/>
                  <a:gd name="T72" fmla="*/ 0 w 21600"/>
                  <a:gd name="T73" fmla="*/ 0 h 21600"/>
                  <a:gd name="T74" fmla="*/ 0 w 21600"/>
                  <a:gd name="T75" fmla="*/ 0 h 21600"/>
                  <a:gd name="T76" fmla="*/ 0 w 21600"/>
                  <a:gd name="T77" fmla="*/ 0 h 21600"/>
                  <a:gd name="T78" fmla="*/ 0 w 21600"/>
                  <a:gd name="T79" fmla="*/ 0 h 21600"/>
                  <a:gd name="T80" fmla="*/ 0 w 21600"/>
                  <a:gd name="T81" fmla="*/ 0 h 21600"/>
                  <a:gd name="T82" fmla="*/ 0 w 21600"/>
                  <a:gd name="T83" fmla="*/ 0 h 21600"/>
                  <a:gd name="T84" fmla="*/ 0 w 21600"/>
                  <a:gd name="T85" fmla="*/ 0 h 21600"/>
                  <a:gd name="T86" fmla="*/ 0 w 21600"/>
                  <a:gd name="T87" fmla="*/ 0 h 21600"/>
                  <a:gd name="T88" fmla="*/ 0 w 21600"/>
                  <a:gd name="T89" fmla="*/ 0 h 21600"/>
                  <a:gd name="T90" fmla="*/ 0 w 21600"/>
                  <a:gd name="T91" fmla="*/ 0 h 21600"/>
                  <a:gd name="T92" fmla="*/ 0 w 21600"/>
                  <a:gd name="T93" fmla="*/ 0 h 21600"/>
                  <a:gd name="T94" fmla="*/ 0 w 21600"/>
                  <a:gd name="T95" fmla="*/ 0 h 21600"/>
                  <a:gd name="T96" fmla="*/ 0 w 21600"/>
                  <a:gd name="T97" fmla="*/ 0 h 21600"/>
                  <a:gd name="T98" fmla="*/ 0 w 21600"/>
                  <a:gd name="T99" fmla="*/ 0 h 21600"/>
                  <a:gd name="T100" fmla="*/ 0 w 21600"/>
                  <a:gd name="T101" fmla="*/ 0 h 21600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21600" h="21600">
                    <a:moveTo>
                      <a:pt x="2236" y="9904"/>
                    </a:moveTo>
                    <a:cubicBezTo>
                      <a:pt x="2490" y="10359"/>
                      <a:pt x="2636" y="10997"/>
                      <a:pt x="2734" y="11787"/>
                    </a:cubicBezTo>
                    <a:cubicBezTo>
                      <a:pt x="2833" y="12577"/>
                      <a:pt x="2864" y="13428"/>
                      <a:pt x="2864" y="14460"/>
                    </a:cubicBezTo>
                    <a:cubicBezTo>
                      <a:pt x="2864" y="16952"/>
                      <a:pt x="2688" y="18501"/>
                      <a:pt x="2444" y="19473"/>
                    </a:cubicBezTo>
                    <a:cubicBezTo>
                      <a:pt x="2174" y="20567"/>
                      <a:pt x="1764" y="21175"/>
                      <a:pt x="1105" y="21175"/>
                    </a:cubicBezTo>
                    <a:lnTo>
                      <a:pt x="0" y="21175"/>
                    </a:lnTo>
                    <a:lnTo>
                      <a:pt x="623" y="395"/>
                    </a:lnTo>
                    <a:lnTo>
                      <a:pt x="1717" y="395"/>
                    </a:lnTo>
                    <a:cubicBezTo>
                      <a:pt x="2226" y="395"/>
                      <a:pt x="2480" y="942"/>
                      <a:pt x="2636" y="1671"/>
                    </a:cubicBezTo>
                    <a:cubicBezTo>
                      <a:pt x="2823" y="2552"/>
                      <a:pt x="2885" y="3797"/>
                      <a:pt x="2885" y="4982"/>
                    </a:cubicBezTo>
                    <a:cubicBezTo>
                      <a:pt x="2885" y="7017"/>
                      <a:pt x="2703" y="8871"/>
                      <a:pt x="2236" y="9904"/>
                    </a:cubicBezTo>
                    <a:close/>
                    <a:moveTo>
                      <a:pt x="908" y="17742"/>
                    </a:moveTo>
                    <a:lnTo>
                      <a:pt x="1188" y="17742"/>
                    </a:lnTo>
                    <a:cubicBezTo>
                      <a:pt x="1484" y="17742"/>
                      <a:pt x="1645" y="17529"/>
                      <a:pt x="1775" y="17134"/>
                    </a:cubicBezTo>
                    <a:cubicBezTo>
                      <a:pt x="1920" y="16679"/>
                      <a:pt x="2039" y="15919"/>
                      <a:pt x="2039" y="14643"/>
                    </a:cubicBezTo>
                    <a:cubicBezTo>
                      <a:pt x="2039" y="13792"/>
                      <a:pt x="1987" y="13155"/>
                      <a:pt x="1899" y="12760"/>
                    </a:cubicBezTo>
                    <a:cubicBezTo>
                      <a:pt x="1800" y="12304"/>
                      <a:pt x="1650" y="12091"/>
                      <a:pt x="1437" y="12091"/>
                    </a:cubicBezTo>
                    <a:lnTo>
                      <a:pt x="1079" y="12091"/>
                    </a:lnTo>
                    <a:lnTo>
                      <a:pt x="908" y="17742"/>
                    </a:lnTo>
                    <a:close/>
                    <a:moveTo>
                      <a:pt x="1183" y="8658"/>
                    </a:moveTo>
                    <a:lnTo>
                      <a:pt x="1365" y="8658"/>
                    </a:lnTo>
                    <a:cubicBezTo>
                      <a:pt x="1645" y="8658"/>
                      <a:pt x="1800" y="8324"/>
                      <a:pt x="1909" y="7838"/>
                    </a:cubicBezTo>
                    <a:cubicBezTo>
                      <a:pt x="2018" y="7352"/>
                      <a:pt x="2081" y="6623"/>
                      <a:pt x="2081" y="5742"/>
                    </a:cubicBezTo>
                    <a:cubicBezTo>
                      <a:pt x="2081" y="5134"/>
                      <a:pt x="2055" y="4739"/>
                      <a:pt x="1998" y="4405"/>
                    </a:cubicBezTo>
                    <a:cubicBezTo>
                      <a:pt x="1935" y="4071"/>
                      <a:pt x="1831" y="3828"/>
                      <a:pt x="1603" y="3828"/>
                    </a:cubicBezTo>
                    <a:lnTo>
                      <a:pt x="1328" y="3828"/>
                    </a:lnTo>
                    <a:lnTo>
                      <a:pt x="1183" y="8658"/>
                    </a:lnTo>
                    <a:close/>
                    <a:moveTo>
                      <a:pt x="4140" y="17742"/>
                    </a:moveTo>
                    <a:lnTo>
                      <a:pt x="5749" y="17742"/>
                    </a:lnTo>
                    <a:lnTo>
                      <a:pt x="5650" y="21175"/>
                    </a:lnTo>
                    <a:lnTo>
                      <a:pt x="3227" y="21175"/>
                    </a:lnTo>
                    <a:lnTo>
                      <a:pt x="3850" y="395"/>
                    </a:lnTo>
                    <a:lnTo>
                      <a:pt x="6247" y="395"/>
                    </a:lnTo>
                    <a:lnTo>
                      <a:pt x="6081" y="3828"/>
                    </a:lnTo>
                    <a:lnTo>
                      <a:pt x="4556" y="3828"/>
                    </a:lnTo>
                    <a:lnTo>
                      <a:pt x="4405" y="8871"/>
                    </a:lnTo>
                    <a:lnTo>
                      <a:pt x="5624" y="8871"/>
                    </a:lnTo>
                    <a:lnTo>
                      <a:pt x="5515" y="12425"/>
                    </a:lnTo>
                    <a:lnTo>
                      <a:pt x="4296" y="12425"/>
                    </a:lnTo>
                    <a:lnTo>
                      <a:pt x="4140" y="17742"/>
                    </a:lnTo>
                    <a:close/>
                    <a:moveTo>
                      <a:pt x="8540" y="395"/>
                    </a:moveTo>
                    <a:lnTo>
                      <a:pt x="9298" y="11878"/>
                    </a:lnTo>
                    <a:lnTo>
                      <a:pt x="10792" y="395"/>
                    </a:lnTo>
                    <a:lnTo>
                      <a:pt x="11456" y="395"/>
                    </a:lnTo>
                    <a:lnTo>
                      <a:pt x="10834" y="21175"/>
                    </a:lnTo>
                    <a:lnTo>
                      <a:pt x="10092" y="21175"/>
                    </a:lnTo>
                    <a:lnTo>
                      <a:pt x="10450" y="9053"/>
                    </a:lnTo>
                    <a:lnTo>
                      <a:pt x="9495" y="16436"/>
                    </a:lnTo>
                    <a:lnTo>
                      <a:pt x="8872" y="16436"/>
                    </a:lnTo>
                    <a:lnTo>
                      <a:pt x="8354" y="8658"/>
                    </a:lnTo>
                    <a:lnTo>
                      <a:pt x="7975" y="21175"/>
                    </a:lnTo>
                    <a:lnTo>
                      <a:pt x="7295" y="21175"/>
                    </a:lnTo>
                    <a:lnTo>
                      <a:pt x="7918" y="395"/>
                    </a:lnTo>
                    <a:lnTo>
                      <a:pt x="8540" y="395"/>
                    </a:lnTo>
                    <a:close/>
                    <a:moveTo>
                      <a:pt x="11685" y="13640"/>
                    </a:moveTo>
                    <a:cubicBezTo>
                      <a:pt x="11685" y="10451"/>
                      <a:pt x="11820" y="7321"/>
                      <a:pt x="12058" y="4921"/>
                    </a:cubicBezTo>
                    <a:cubicBezTo>
                      <a:pt x="12380" y="1701"/>
                      <a:pt x="12893" y="0"/>
                      <a:pt x="13610" y="0"/>
                    </a:cubicBezTo>
                    <a:cubicBezTo>
                      <a:pt x="14429" y="0"/>
                      <a:pt x="14990" y="2521"/>
                      <a:pt x="14990" y="7959"/>
                    </a:cubicBezTo>
                    <a:cubicBezTo>
                      <a:pt x="14990" y="11149"/>
                      <a:pt x="14855" y="14278"/>
                      <a:pt x="14616" y="16678"/>
                    </a:cubicBezTo>
                    <a:cubicBezTo>
                      <a:pt x="14295" y="19899"/>
                      <a:pt x="13781" y="21600"/>
                      <a:pt x="13065" y="21600"/>
                    </a:cubicBezTo>
                    <a:cubicBezTo>
                      <a:pt x="12245" y="21600"/>
                      <a:pt x="11685" y="19078"/>
                      <a:pt x="11685" y="13640"/>
                    </a:cubicBezTo>
                    <a:close/>
                    <a:moveTo>
                      <a:pt x="12790" y="6775"/>
                    </a:moveTo>
                    <a:cubicBezTo>
                      <a:pt x="12619" y="8688"/>
                      <a:pt x="12520" y="11180"/>
                      <a:pt x="12520" y="13640"/>
                    </a:cubicBezTo>
                    <a:cubicBezTo>
                      <a:pt x="12520" y="16770"/>
                      <a:pt x="12764" y="17894"/>
                      <a:pt x="13127" y="17894"/>
                    </a:cubicBezTo>
                    <a:cubicBezTo>
                      <a:pt x="13469" y="17894"/>
                      <a:pt x="13713" y="16709"/>
                      <a:pt x="13885" y="14825"/>
                    </a:cubicBezTo>
                    <a:cubicBezTo>
                      <a:pt x="14056" y="12912"/>
                      <a:pt x="14154" y="10420"/>
                      <a:pt x="14154" y="7960"/>
                    </a:cubicBezTo>
                    <a:cubicBezTo>
                      <a:pt x="14154" y="4830"/>
                      <a:pt x="13911" y="3706"/>
                      <a:pt x="13547" y="3706"/>
                    </a:cubicBezTo>
                    <a:cubicBezTo>
                      <a:pt x="13205" y="3706"/>
                      <a:pt x="12961" y="4891"/>
                      <a:pt x="12790" y="6775"/>
                    </a:cubicBezTo>
                    <a:close/>
                    <a:moveTo>
                      <a:pt x="18098" y="10177"/>
                    </a:moveTo>
                    <a:cubicBezTo>
                      <a:pt x="17963" y="11271"/>
                      <a:pt x="17745" y="12182"/>
                      <a:pt x="17459" y="12851"/>
                    </a:cubicBezTo>
                    <a:lnTo>
                      <a:pt x="18009" y="21175"/>
                    </a:lnTo>
                    <a:lnTo>
                      <a:pt x="17143" y="21175"/>
                    </a:lnTo>
                    <a:lnTo>
                      <a:pt x="16728" y="13641"/>
                    </a:lnTo>
                    <a:lnTo>
                      <a:pt x="16251" y="13641"/>
                    </a:lnTo>
                    <a:lnTo>
                      <a:pt x="16027" y="21175"/>
                    </a:lnTo>
                    <a:lnTo>
                      <a:pt x="15218" y="21175"/>
                    </a:lnTo>
                    <a:lnTo>
                      <a:pt x="15841" y="395"/>
                    </a:lnTo>
                    <a:lnTo>
                      <a:pt x="17050" y="395"/>
                    </a:lnTo>
                    <a:cubicBezTo>
                      <a:pt x="17491" y="395"/>
                      <a:pt x="17797" y="942"/>
                      <a:pt x="17989" y="1914"/>
                    </a:cubicBezTo>
                    <a:cubicBezTo>
                      <a:pt x="18202" y="2977"/>
                      <a:pt x="18290" y="4526"/>
                      <a:pt x="18290" y="6319"/>
                    </a:cubicBezTo>
                    <a:cubicBezTo>
                      <a:pt x="18290" y="7807"/>
                      <a:pt x="18227" y="9114"/>
                      <a:pt x="18098" y="10177"/>
                    </a:cubicBezTo>
                    <a:close/>
                    <a:moveTo>
                      <a:pt x="16354" y="10208"/>
                    </a:moveTo>
                    <a:lnTo>
                      <a:pt x="16666" y="10208"/>
                    </a:lnTo>
                    <a:cubicBezTo>
                      <a:pt x="16915" y="10208"/>
                      <a:pt x="17138" y="9934"/>
                      <a:pt x="17288" y="9114"/>
                    </a:cubicBezTo>
                    <a:cubicBezTo>
                      <a:pt x="17408" y="8476"/>
                      <a:pt x="17486" y="7443"/>
                      <a:pt x="17486" y="6349"/>
                    </a:cubicBezTo>
                    <a:cubicBezTo>
                      <a:pt x="17486" y="5651"/>
                      <a:pt x="17454" y="5012"/>
                      <a:pt x="17382" y="4587"/>
                    </a:cubicBezTo>
                    <a:cubicBezTo>
                      <a:pt x="17299" y="4101"/>
                      <a:pt x="17169" y="3828"/>
                      <a:pt x="16951" y="3828"/>
                    </a:cubicBezTo>
                    <a:lnTo>
                      <a:pt x="16546" y="3828"/>
                    </a:lnTo>
                    <a:lnTo>
                      <a:pt x="16354" y="10208"/>
                    </a:lnTo>
                    <a:close/>
                    <a:moveTo>
                      <a:pt x="19493" y="17742"/>
                    </a:moveTo>
                    <a:lnTo>
                      <a:pt x="21102" y="17742"/>
                    </a:lnTo>
                    <a:lnTo>
                      <a:pt x="21003" y="21175"/>
                    </a:lnTo>
                    <a:lnTo>
                      <a:pt x="18580" y="21175"/>
                    </a:lnTo>
                    <a:lnTo>
                      <a:pt x="19203" y="395"/>
                    </a:lnTo>
                    <a:lnTo>
                      <a:pt x="21600" y="395"/>
                    </a:lnTo>
                    <a:lnTo>
                      <a:pt x="21434" y="3828"/>
                    </a:lnTo>
                    <a:lnTo>
                      <a:pt x="19909" y="3828"/>
                    </a:lnTo>
                    <a:lnTo>
                      <a:pt x="19758" y="8871"/>
                    </a:lnTo>
                    <a:lnTo>
                      <a:pt x="20977" y="8871"/>
                    </a:lnTo>
                    <a:lnTo>
                      <a:pt x="20868" y="12425"/>
                    </a:lnTo>
                    <a:lnTo>
                      <a:pt x="19649" y="12425"/>
                    </a:lnTo>
                    <a:lnTo>
                      <a:pt x="19493" y="17742"/>
                    </a:lnTo>
                    <a:close/>
                    <a:moveTo>
                      <a:pt x="19493" y="17742"/>
                    </a:move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 cap="flat">
                    <a:solidFill>
                      <a:srgbClr val="000000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en-GB"/>
              </a:p>
            </p:txBody>
          </p:sp>
          <p:sp>
            <p:nvSpPr>
              <p:cNvPr id="19" name="AutoShape 3"/>
              <p:cNvSpPr>
                <a:spLocks/>
              </p:cNvSpPr>
              <p:nvPr/>
            </p:nvSpPr>
            <p:spPr bwMode="auto">
              <a:xfrm>
                <a:off x="533" y="98"/>
                <a:ext cx="58" cy="13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1600" h="21600">
                    <a:moveTo>
                      <a:pt x="0" y="21600"/>
                    </a:moveTo>
                    <a:lnTo>
                      <a:pt x="870" y="0"/>
                    </a:lnTo>
                    <a:lnTo>
                      <a:pt x="21600" y="0"/>
                    </a:lnTo>
                    <a:lnTo>
                      <a:pt x="20730" y="21600"/>
                    </a:lnTo>
                    <a:lnTo>
                      <a:pt x="0" y="21600"/>
                    </a:lnTo>
                    <a:close/>
                    <a:moveTo>
                      <a:pt x="0" y="21600"/>
                    </a:moveTo>
                  </a:path>
                </a:pathLst>
              </a:custGeom>
              <a:solidFill>
                <a:srgbClr val="7DF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 cap="flat">
                    <a:solidFill>
                      <a:srgbClr val="000000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en-GB"/>
              </a:p>
            </p:txBody>
          </p:sp>
        </p:grpSp>
        <p:sp>
          <p:nvSpPr>
            <p:cNvPr id="17" name="22 CuadroTexto"/>
            <p:cNvSpPr txBox="1"/>
            <p:nvPr userDrawn="1"/>
          </p:nvSpPr>
          <p:spPr>
            <a:xfrm>
              <a:off x="58864" y="6577689"/>
              <a:ext cx="2103461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b="0" i="1" noProof="0" dirty="0" smtClean="0">
                  <a:solidFill>
                    <a:schemeClr val="accent5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SCOVER</a:t>
              </a:r>
              <a:r>
                <a:rPr lang="en-US" sz="1000" b="0" i="1" dirty="0" smtClean="0">
                  <a:solidFill>
                    <a:schemeClr val="accent5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DISRUPT, DELIVER</a:t>
              </a:r>
              <a:endParaRPr lang="en-US" sz="1000" b="0" i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284447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17B4C6"/>
          </a:solidFill>
          <a:latin typeface="+mj-lt"/>
          <a:ea typeface="+mj-ea"/>
          <a:cs typeface="+mj-cs"/>
          <a:sym typeface="Gill Sans" pitchFamily="122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122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122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122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122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889000" indent="-571500" algn="l" rtl="0" eaLnBrk="0" fontAlgn="base" hangingPunct="0">
        <a:spcBef>
          <a:spcPts val="3400"/>
        </a:spcBef>
        <a:spcAft>
          <a:spcPct val="0"/>
        </a:spcAft>
        <a:buSzPct val="171000"/>
        <a:buFont typeface="Gill Sans" pitchFamily="122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1pPr>
      <a:lvl2pPr marL="1333500" indent="-571500" algn="l" rtl="0" eaLnBrk="0" fontAlgn="base" hangingPunct="0">
        <a:spcBef>
          <a:spcPts val="3400"/>
        </a:spcBef>
        <a:spcAft>
          <a:spcPct val="0"/>
        </a:spcAft>
        <a:buSzPct val="171000"/>
        <a:buFont typeface="Gill Sans" pitchFamily="122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2pPr>
      <a:lvl3pPr marL="1778000" indent="-571500" algn="l" rtl="0" eaLnBrk="0" fontAlgn="base" hangingPunct="0">
        <a:spcBef>
          <a:spcPts val="3400"/>
        </a:spcBef>
        <a:spcAft>
          <a:spcPct val="0"/>
        </a:spcAft>
        <a:buSzPct val="171000"/>
        <a:buFont typeface="Gill Sans" pitchFamily="122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3pPr>
      <a:lvl4pPr marL="2222500" indent="-571500" algn="l" rtl="0" eaLnBrk="0" fontAlgn="base" hangingPunct="0">
        <a:spcBef>
          <a:spcPts val="3400"/>
        </a:spcBef>
        <a:spcAft>
          <a:spcPct val="0"/>
        </a:spcAft>
        <a:buSzPct val="171000"/>
        <a:buFont typeface="Gill Sans" pitchFamily="122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4pPr>
      <a:lvl5pPr marL="2667000" indent="-571500" algn="l" rtl="0" eaLnBrk="0" fontAlgn="base" hangingPunct="0">
        <a:spcBef>
          <a:spcPts val="3400"/>
        </a:spcBef>
        <a:spcAft>
          <a:spcPct val="0"/>
        </a:spcAft>
        <a:buSzPct val="171000"/>
        <a:buFont typeface="Gill Sans" pitchFamily="122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5pPr>
      <a:lvl6pPr marL="3124200" indent="-571500" algn="l" rtl="0" fontAlgn="base">
        <a:spcBef>
          <a:spcPts val="3400"/>
        </a:spcBef>
        <a:spcAft>
          <a:spcPct val="0"/>
        </a:spcAft>
        <a:buSzPct val="171000"/>
        <a:buFont typeface="Gill Sans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3581400" indent="-571500" algn="l" rtl="0" fontAlgn="base">
        <a:spcBef>
          <a:spcPts val="3400"/>
        </a:spcBef>
        <a:spcAft>
          <a:spcPct val="0"/>
        </a:spcAft>
        <a:buSzPct val="171000"/>
        <a:buFont typeface="Gill Sans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4038600" indent="-571500" algn="l" rtl="0" fontAlgn="base">
        <a:spcBef>
          <a:spcPts val="3400"/>
        </a:spcBef>
        <a:spcAft>
          <a:spcPct val="0"/>
        </a:spcAft>
        <a:buSzPct val="171000"/>
        <a:buFont typeface="Gill Sans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4495800" indent="-571500" algn="l" rtl="0" fontAlgn="base">
        <a:spcBef>
          <a:spcPts val="3400"/>
        </a:spcBef>
        <a:spcAft>
          <a:spcPct val="0"/>
        </a:spcAft>
        <a:buSzPct val="171000"/>
        <a:buFont typeface="Gill Sans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AutoShape 5"/>
          <p:cNvSpPr>
            <a:spLocks/>
          </p:cNvSpPr>
          <p:nvPr/>
        </p:nvSpPr>
        <p:spPr bwMode="auto">
          <a:xfrm>
            <a:off x="8028844" y="6502400"/>
            <a:ext cx="830873" cy="249238"/>
          </a:xfrm>
          <a:custGeom>
            <a:avLst/>
            <a:gdLst>
              <a:gd name="T0" fmla="*/ 0 w 21600"/>
              <a:gd name="T1" fmla="*/ 892206852 h 21600"/>
              <a:gd name="T2" fmla="*/ 2147483647 w 21600"/>
              <a:gd name="T3" fmla="*/ 141473318 h 21600"/>
              <a:gd name="T4" fmla="*/ 2147483647 w 21600"/>
              <a:gd name="T5" fmla="*/ 96575026 h 21600"/>
              <a:gd name="T6" fmla="*/ 2147483647 w 21600"/>
              <a:gd name="T7" fmla="*/ 275193756 h 21600"/>
              <a:gd name="T8" fmla="*/ 2147483647 w 21600"/>
              <a:gd name="T9" fmla="*/ 59300706 h 21600"/>
              <a:gd name="T10" fmla="*/ 2147483647 w 21600"/>
              <a:gd name="T11" fmla="*/ 702363606 h 21600"/>
              <a:gd name="T12" fmla="*/ 2147483647 w 21600"/>
              <a:gd name="T13" fmla="*/ 341566847 h 21600"/>
              <a:gd name="T14" fmla="*/ 2147483647 w 21600"/>
              <a:gd name="T15" fmla="*/ 6989884 h 21600"/>
              <a:gd name="T16" fmla="*/ 2147483647 w 21600"/>
              <a:gd name="T17" fmla="*/ 12835521 h 21600"/>
              <a:gd name="T18" fmla="*/ 2147483647 w 21600"/>
              <a:gd name="T19" fmla="*/ 406713202 h 21600"/>
              <a:gd name="T20" fmla="*/ 2147483647 w 21600"/>
              <a:gd name="T21" fmla="*/ 446866336 h 21600"/>
              <a:gd name="T22" fmla="*/ 2147483647 w 21600"/>
              <a:gd name="T23" fmla="*/ 193528986 h 21600"/>
              <a:gd name="T24" fmla="*/ 2147483647 w 21600"/>
              <a:gd name="T25" fmla="*/ 592022721 h 21600"/>
              <a:gd name="T26" fmla="*/ 2147483647 w 21600"/>
              <a:gd name="T27" fmla="*/ 635735349 h 21600"/>
              <a:gd name="T28" fmla="*/ 2147483647 w 21600"/>
              <a:gd name="T29" fmla="*/ 421156883 h 21600"/>
              <a:gd name="T30" fmla="*/ 2147483647 w 21600"/>
              <a:gd name="T31" fmla="*/ 88484663 h 21600"/>
              <a:gd name="T32" fmla="*/ 2147483647 w 21600"/>
              <a:gd name="T33" fmla="*/ 232540374 h 21600"/>
              <a:gd name="T34" fmla="*/ 2147483647 w 21600"/>
              <a:gd name="T35" fmla="*/ 232540374 h 21600"/>
              <a:gd name="T36" fmla="*/ 2147483647 w 21600"/>
              <a:gd name="T37" fmla="*/ 528997692 h 21600"/>
              <a:gd name="T38" fmla="*/ 2147483647 w 21600"/>
              <a:gd name="T39" fmla="*/ 523871306 h 21600"/>
              <a:gd name="T40" fmla="*/ 2147483647 w 21600"/>
              <a:gd name="T41" fmla="*/ 493754362 h 21600"/>
              <a:gd name="T42" fmla="*/ 2147483647 w 21600"/>
              <a:gd name="T43" fmla="*/ 631585869 h 21600"/>
              <a:gd name="T44" fmla="*/ 2147483647 w 21600"/>
              <a:gd name="T45" fmla="*/ 201322939 h 21600"/>
              <a:gd name="T46" fmla="*/ 2147483647 w 21600"/>
              <a:gd name="T47" fmla="*/ 482658754 h 21600"/>
              <a:gd name="T48" fmla="*/ 2147483647 w 21600"/>
              <a:gd name="T49" fmla="*/ 231014554 h 21600"/>
              <a:gd name="T50" fmla="*/ 2147483647 w 21600"/>
              <a:gd name="T51" fmla="*/ 318228550 h 21600"/>
              <a:gd name="T52" fmla="*/ 2147483647 w 21600"/>
              <a:gd name="T53" fmla="*/ 277015998 h 21600"/>
              <a:gd name="T54" fmla="*/ 2147483647 w 21600"/>
              <a:gd name="T55" fmla="*/ 522811888 h 21600"/>
              <a:gd name="T56" fmla="*/ 2147483647 w 21600"/>
              <a:gd name="T57" fmla="*/ 219323441 h 21600"/>
              <a:gd name="T58" fmla="*/ 2147483647 w 21600"/>
              <a:gd name="T59" fmla="*/ 536451489 h 21600"/>
              <a:gd name="T60" fmla="*/ 2147483647 w 21600"/>
              <a:gd name="T61" fmla="*/ 359611267 h 21600"/>
              <a:gd name="T62" fmla="*/ 2147483647 w 21600"/>
              <a:gd name="T63" fmla="*/ 245035739 h 21600"/>
              <a:gd name="T64" fmla="*/ 2147483647 w 21600"/>
              <a:gd name="T65" fmla="*/ 482658754 h 21600"/>
              <a:gd name="T66" fmla="*/ 2147483647 w 21600"/>
              <a:gd name="T67" fmla="*/ 710539155 h 21600"/>
              <a:gd name="T68" fmla="*/ 2147483647 w 21600"/>
              <a:gd name="T69" fmla="*/ 238512269 h 21600"/>
              <a:gd name="T70" fmla="*/ 2147483647 w 21600"/>
              <a:gd name="T71" fmla="*/ 386550130 h 21600"/>
              <a:gd name="T72" fmla="*/ 2147483647 w 21600"/>
              <a:gd name="T73" fmla="*/ 290400434 h 21600"/>
              <a:gd name="T74" fmla="*/ 2147483647 w 21600"/>
              <a:gd name="T75" fmla="*/ 415056069 h 21600"/>
              <a:gd name="T76" fmla="*/ 2147483647 w 21600"/>
              <a:gd name="T77" fmla="*/ 544753284 h 21600"/>
              <a:gd name="T78" fmla="*/ 2147483647 w 21600"/>
              <a:gd name="T79" fmla="*/ 589991905 h 21600"/>
              <a:gd name="T80" fmla="*/ 2147483647 w 21600"/>
              <a:gd name="T81" fmla="*/ 201067773 h 21600"/>
              <a:gd name="T82" fmla="*/ 2147483647 w 21600"/>
              <a:gd name="T83" fmla="*/ 231736294 h 21600"/>
              <a:gd name="T84" fmla="*/ 2147483647 w 21600"/>
              <a:gd name="T85" fmla="*/ 241690339 h 21600"/>
              <a:gd name="T86" fmla="*/ 2147483647 w 21600"/>
              <a:gd name="T87" fmla="*/ 501633500 h 21600"/>
              <a:gd name="T88" fmla="*/ 2147483647 w 21600"/>
              <a:gd name="T89" fmla="*/ 202171109 h 21600"/>
              <a:gd name="T90" fmla="*/ 2147483647 w 21600"/>
              <a:gd name="T91" fmla="*/ 34859246 h 21600"/>
              <a:gd name="T92" fmla="*/ 2147483647 w 21600"/>
              <a:gd name="T93" fmla="*/ 161040897 h 21600"/>
              <a:gd name="T94" fmla="*/ 2147483647 w 21600"/>
              <a:gd name="T95" fmla="*/ 209369568 h 21600"/>
              <a:gd name="T96" fmla="*/ 2147483647 w 21600"/>
              <a:gd name="T97" fmla="*/ 245966066 h 21600"/>
              <a:gd name="T98" fmla="*/ 2147483647 w 21600"/>
              <a:gd name="T99" fmla="*/ 501592243 h 21600"/>
              <a:gd name="T100" fmla="*/ 2147483647 w 21600"/>
              <a:gd name="T101" fmla="*/ 239486513 h 21600"/>
              <a:gd name="T102" fmla="*/ 2147483647 w 21600"/>
              <a:gd name="T103" fmla="*/ 497651349 h 21600"/>
              <a:gd name="T104" fmla="*/ 2147483647 w 21600"/>
              <a:gd name="T105" fmla="*/ 415522655 h 2160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1600" h="21600">
                <a:moveTo>
                  <a:pt x="21600" y="21064"/>
                </a:moveTo>
                <a:cubicBezTo>
                  <a:pt x="21600" y="20776"/>
                  <a:pt x="16158" y="20540"/>
                  <a:pt x="10801" y="20540"/>
                </a:cubicBezTo>
                <a:cubicBezTo>
                  <a:pt x="5443" y="20540"/>
                  <a:pt x="0" y="20776"/>
                  <a:pt x="0" y="21064"/>
                </a:cubicBezTo>
                <a:cubicBezTo>
                  <a:pt x="0" y="21350"/>
                  <a:pt x="5443" y="21600"/>
                  <a:pt x="10801" y="21600"/>
                </a:cubicBezTo>
                <a:cubicBezTo>
                  <a:pt x="16158" y="21599"/>
                  <a:pt x="21600" y="21350"/>
                  <a:pt x="21600" y="21064"/>
                </a:cubicBezTo>
                <a:close/>
                <a:moveTo>
                  <a:pt x="16099" y="3340"/>
                </a:moveTo>
                <a:cubicBezTo>
                  <a:pt x="16246" y="3334"/>
                  <a:pt x="16394" y="2835"/>
                  <a:pt x="16425" y="2245"/>
                </a:cubicBezTo>
                <a:cubicBezTo>
                  <a:pt x="16461" y="1634"/>
                  <a:pt x="16365" y="1165"/>
                  <a:pt x="16216" y="1179"/>
                </a:cubicBezTo>
                <a:cubicBezTo>
                  <a:pt x="16070" y="1180"/>
                  <a:pt x="15924" y="1670"/>
                  <a:pt x="15889" y="2280"/>
                </a:cubicBezTo>
                <a:cubicBezTo>
                  <a:pt x="15858" y="2875"/>
                  <a:pt x="15949" y="3352"/>
                  <a:pt x="16099" y="3340"/>
                </a:cubicBezTo>
                <a:close/>
                <a:moveTo>
                  <a:pt x="2148" y="6604"/>
                </a:moveTo>
                <a:lnTo>
                  <a:pt x="2183" y="6497"/>
                </a:lnTo>
                <a:cubicBezTo>
                  <a:pt x="2134" y="6207"/>
                  <a:pt x="2116" y="5697"/>
                  <a:pt x="2119" y="5390"/>
                </a:cubicBezTo>
                <a:cubicBezTo>
                  <a:pt x="2136" y="2842"/>
                  <a:pt x="2874" y="1400"/>
                  <a:pt x="4024" y="1400"/>
                </a:cubicBezTo>
                <a:lnTo>
                  <a:pt x="4661" y="1400"/>
                </a:lnTo>
                <a:cubicBezTo>
                  <a:pt x="4291" y="2185"/>
                  <a:pt x="3981" y="3230"/>
                  <a:pt x="3743" y="5197"/>
                </a:cubicBezTo>
                <a:cubicBezTo>
                  <a:pt x="3640" y="6043"/>
                  <a:pt x="3153" y="10591"/>
                  <a:pt x="2954" y="12638"/>
                </a:cubicBezTo>
                <a:cubicBezTo>
                  <a:pt x="2706" y="15072"/>
                  <a:pt x="2548" y="16177"/>
                  <a:pt x="2352" y="16582"/>
                </a:cubicBezTo>
                <a:lnTo>
                  <a:pt x="2385" y="16802"/>
                </a:lnTo>
                <a:cubicBezTo>
                  <a:pt x="2937" y="16925"/>
                  <a:pt x="3266" y="15896"/>
                  <a:pt x="3478" y="13994"/>
                </a:cubicBezTo>
                <a:cubicBezTo>
                  <a:pt x="3680" y="12197"/>
                  <a:pt x="3947" y="9336"/>
                  <a:pt x="4078" y="8064"/>
                </a:cubicBezTo>
                <a:cubicBezTo>
                  <a:pt x="4502" y="3971"/>
                  <a:pt x="4688" y="2248"/>
                  <a:pt x="5026" y="1400"/>
                </a:cubicBezTo>
                <a:cubicBezTo>
                  <a:pt x="5497" y="1389"/>
                  <a:pt x="5951" y="1389"/>
                  <a:pt x="5951" y="1389"/>
                </a:cubicBezTo>
                <a:cubicBezTo>
                  <a:pt x="6458" y="1340"/>
                  <a:pt x="6674" y="880"/>
                  <a:pt x="6832" y="165"/>
                </a:cubicBezTo>
                <a:lnTo>
                  <a:pt x="6796" y="0"/>
                </a:lnTo>
                <a:cubicBezTo>
                  <a:pt x="6670" y="251"/>
                  <a:pt x="6395" y="302"/>
                  <a:pt x="6162" y="303"/>
                </a:cubicBezTo>
                <a:lnTo>
                  <a:pt x="3875" y="303"/>
                </a:lnTo>
                <a:cubicBezTo>
                  <a:pt x="2588" y="303"/>
                  <a:pt x="1799" y="1846"/>
                  <a:pt x="1671" y="4142"/>
                </a:cubicBezTo>
                <a:cubicBezTo>
                  <a:pt x="1608" y="5253"/>
                  <a:pt x="1777" y="6456"/>
                  <a:pt x="2148" y="6604"/>
                </a:cubicBezTo>
                <a:close/>
                <a:moveTo>
                  <a:pt x="6336" y="9602"/>
                </a:moveTo>
                <a:cubicBezTo>
                  <a:pt x="6013" y="11310"/>
                  <a:pt x="5562" y="12860"/>
                  <a:pt x="5174" y="12860"/>
                </a:cubicBezTo>
                <a:cubicBezTo>
                  <a:pt x="5009" y="12881"/>
                  <a:pt x="4936" y="12535"/>
                  <a:pt x="4940" y="11843"/>
                </a:cubicBezTo>
                <a:cubicBezTo>
                  <a:pt x="4940" y="11428"/>
                  <a:pt x="4966" y="10844"/>
                  <a:pt x="4989" y="10550"/>
                </a:cubicBezTo>
                <a:cubicBezTo>
                  <a:pt x="5355" y="9874"/>
                  <a:pt x="5728" y="9115"/>
                  <a:pt x="6060" y="7863"/>
                </a:cubicBezTo>
                <a:cubicBezTo>
                  <a:pt x="6246" y="7137"/>
                  <a:pt x="6370" y="6407"/>
                  <a:pt x="6376" y="5655"/>
                </a:cubicBezTo>
                <a:cubicBezTo>
                  <a:pt x="6380" y="4944"/>
                  <a:pt x="6257" y="4583"/>
                  <a:pt x="6015" y="4569"/>
                </a:cubicBezTo>
                <a:cubicBezTo>
                  <a:pt x="5664" y="4554"/>
                  <a:pt x="5243" y="5429"/>
                  <a:pt x="4968" y="6495"/>
                </a:cubicBezTo>
                <a:cubicBezTo>
                  <a:pt x="4609" y="7927"/>
                  <a:pt x="4332" y="9949"/>
                  <a:pt x="4325" y="11748"/>
                </a:cubicBezTo>
                <a:cubicBezTo>
                  <a:pt x="4321" y="13024"/>
                  <a:pt x="4487" y="14037"/>
                  <a:pt x="4936" y="13977"/>
                </a:cubicBezTo>
                <a:cubicBezTo>
                  <a:pt x="5417" y="13928"/>
                  <a:pt x="5891" y="12574"/>
                  <a:pt x="6133" y="11593"/>
                </a:cubicBezTo>
                <a:cubicBezTo>
                  <a:pt x="6105" y="12014"/>
                  <a:pt x="6085" y="12408"/>
                  <a:pt x="6085" y="12732"/>
                </a:cubicBezTo>
                <a:cubicBezTo>
                  <a:pt x="6085" y="13864"/>
                  <a:pt x="6239" y="14667"/>
                  <a:pt x="6544" y="15009"/>
                </a:cubicBezTo>
                <a:lnTo>
                  <a:pt x="6605" y="14903"/>
                </a:lnTo>
                <a:cubicBezTo>
                  <a:pt x="6578" y="14599"/>
                  <a:pt x="6571" y="14277"/>
                  <a:pt x="6578" y="13919"/>
                </a:cubicBezTo>
                <a:cubicBezTo>
                  <a:pt x="6599" y="12819"/>
                  <a:pt x="6719" y="11576"/>
                  <a:pt x="6894" y="9943"/>
                </a:cubicBezTo>
                <a:cubicBezTo>
                  <a:pt x="7231" y="6855"/>
                  <a:pt x="7720" y="3323"/>
                  <a:pt x="7934" y="1239"/>
                </a:cubicBezTo>
                <a:lnTo>
                  <a:pt x="7422" y="1596"/>
                </a:lnTo>
                <a:cubicBezTo>
                  <a:pt x="7342" y="1656"/>
                  <a:pt x="7292" y="1877"/>
                  <a:pt x="7265" y="2089"/>
                </a:cubicBezTo>
                <a:cubicBezTo>
                  <a:pt x="7018" y="4008"/>
                  <a:pt x="6764" y="6055"/>
                  <a:pt x="6447" y="8720"/>
                </a:cubicBezTo>
                <a:cubicBezTo>
                  <a:pt x="6410" y="9004"/>
                  <a:pt x="6376" y="9305"/>
                  <a:pt x="6336" y="9602"/>
                </a:cubicBezTo>
                <a:close/>
                <a:moveTo>
                  <a:pt x="5856" y="5490"/>
                </a:moveTo>
                <a:cubicBezTo>
                  <a:pt x="5935" y="5490"/>
                  <a:pt x="5963" y="5689"/>
                  <a:pt x="5963" y="5944"/>
                </a:cubicBezTo>
                <a:cubicBezTo>
                  <a:pt x="5963" y="7146"/>
                  <a:pt x="5556" y="8686"/>
                  <a:pt x="5037" y="9810"/>
                </a:cubicBezTo>
                <a:cubicBezTo>
                  <a:pt x="5167" y="7947"/>
                  <a:pt x="5534" y="5472"/>
                  <a:pt x="5856" y="5490"/>
                </a:cubicBezTo>
                <a:close/>
                <a:moveTo>
                  <a:pt x="14619" y="12665"/>
                </a:moveTo>
                <a:cubicBezTo>
                  <a:pt x="14619" y="13518"/>
                  <a:pt x="14767" y="14043"/>
                  <a:pt x="15050" y="14014"/>
                </a:cubicBezTo>
                <a:cubicBezTo>
                  <a:pt x="15344" y="13993"/>
                  <a:pt x="15642" y="13359"/>
                  <a:pt x="15889" y="12489"/>
                </a:cubicBezTo>
                <a:cubicBezTo>
                  <a:pt x="15936" y="13410"/>
                  <a:pt x="16117" y="14077"/>
                  <a:pt x="16488" y="14028"/>
                </a:cubicBezTo>
                <a:cubicBezTo>
                  <a:pt x="16874" y="13977"/>
                  <a:pt x="17243" y="13095"/>
                  <a:pt x="17499" y="12073"/>
                </a:cubicBezTo>
                <a:lnTo>
                  <a:pt x="17499" y="12368"/>
                </a:lnTo>
                <a:cubicBezTo>
                  <a:pt x="17499" y="13315"/>
                  <a:pt x="17633" y="14021"/>
                  <a:pt x="17929" y="14021"/>
                </a:cubicBezTo>
                <a:cubicBezTo>
                  <a:pt x="18248" y="14021"/>
                  <a:pt x="18615" y="13146"/>
                  <a:pt x="18906" y="11641"/>
                </a:cubicBezTo>
                <a:lnTo>
                  <a:pt x="18914" y="11657"/>
                </a:lnTo>
                <a:cubicBezTo>
                  <a:pt x="18888" y="12014"/>
                  <a:pt x="18856" y="12620"/>
                  <a:pt x="18852" y="13025"/>
                </a:cubicBezTo>
                <a:cubicBezTo>
                  <a:pt x="18847" y="14159"/>
                  <a:pt x="19032" y="14816"/>
                  <a:pt x="19289" y="15003"/>
                </a:cubicBezTo>
                <a:lnTo>
                  <a:pt x="19352" y="14911"/>
                </a:lnTo>
                <a:cubicBezTo>
                  <a:pt x="19258" y="14087"/>
                  <a:pt x="19389" y="12036"/>
                  <a:pt x="19444" y="11353"/>
                </a:cubicBezTo>
                <a:cubicBezTo>
                  <a:pt x="19635" y="9107"/>
                  <a:pt x="19938" y="6540"/>
                  <a:pt x="20114" y="5205"/>
                </a:cubicBezTo>
                <a:cubicBezTo>
                  <a:pt x="20034" y="4955"/>
                  <a:pt x="19847" y="4786"/>
                  <a:pt x="19647" y="4753"/>
                </a:cubicBezTo>
                <a:cubicBezTo>
                  <a:pt x="18983" y="4665"/>
                  <a:pt x="18316" y="5664"/>
                  <a:pt x="17830" y="8808"/>
                </a:cubicBezTo>
                <a:cubicBezTo>
                  <a:pt x="17746" y="9356"/>
                  <a:pt x="17655" y="9985"/>
                  <a:pt x="17587" y="10651"/>
                </a:cubicBezTo>
                <a:cubicBezTo>
                  <a:pt x="17518" y="10987"/>
                  <a:pt x="17445" y="11287"/>
                  <a:pt x="17415" y="11395"/>
                </a:cubicBezTo>
                <a:cubicBezTo>
                  <a:pt x="17239" y="12014"/>
                  <a:pt x="16989" y="12807"/>
                  <a:pt x="16735" y="12819"/>
                </a:cubicBezTo>
                <a:cubicBezTo>
                  <a:pt x="16590" y="12829"/>
                  <a:pt x="16510" y="12458"/>
                  <a:pt x="16514" y="11799"/>
                </a:cubicBezTo>
                <a:cubicBezTo>
                  <a:pt x="16516" y="9284"/>
                  <a:pt x="17124" y="5464"/>
                  <a:pt x="17538" y="5454"/>
                </a:cubicBezTo>
                <a:cubicBezTo>
                  <a:pt x="17650" y="5454"/>
                  <a:pt x="17700" y="5635"/>
                  <a:pt x="17700" y="5987"/>
                </a:cubicBezTo>
                <a:cubicBezTo>
                  <a:pt x="17700" y="6406"/>
                  <a:pt x="17621" y="6981"/>
                  <a:pt x="17510" y="7352"/>
                </a:cubicBezTo>
                <a:lnTo>
                  <a:pt x="17558" y="7513"/>
                </a:lnTo>
                <a:cubicBezTo>
                  <a:pt x="17835" y="7124"/>
                  <a:pt x="18093" y="6420"/>
                  <a:pt x="18095" y="5671"/>
                </a:cubicBezTo>
                <a:cubicBezTo>
                  <a:pt x="18095" y="4817"/>
                  <a:pt x="17825" y="4658"/>
                  <a:pt x="17585" y="4665"/>
                </a:cubicBezTo>
                <a:cubicBezTo>
                  <a:pt x="17262" y="4681"/>
                  <a:pt x="16861" y="5257"/>
                  <a:pt x="16539" y="6540"/>
                </a:cubicBezTo>
                <a:cubicBezTo>
                  <a:pt x="16136" y="8149"/>
                  <a:pt x="15927" y="10079"/>
                  <a:pt x="15886" y="11456"/>
                </a:cubicBezTo>
                <a:cubicBezTo>
                  <a:pt x="15702" y="12240"/>
                  <a:pt x="15496" y="12775"/>
                  <a:pt x="15358" y="12781"/>
                </a:cubicBezTo>
                <a:cubicBezTo>
                  <a:pt x="15281" y="12792"/>
                  <a:pt x="15225" y="12639"/>
                  <a:pt x="15224" y="12343"/>
                </a:cubicBezTo>
                <a:cubicBezTo>
                  <a:pt x="15224" y="12081"/>
                  <a:pt x="15266" y="11546"/>
                  <a:pt x="15336" y="10851"/>
                </a:cubicBezTo>
                <a:cubicBezTo>
                  <a:pt x="15515" y="9231"/>
                  <a:pt x="15772" y="7212"/>
                  <a:pt x="16090" y="4811"/>
                </a:cubicBezTo>
                <a:cubicBezTo>
                  <a:pt x="16090" y="4811"/>
                  <a:pt x="15608" y="5106"/>
                  <a:pt x="15538" y="5178"/>
                </a:cubicBezTo>
                <a:cubicBezTo>
                  <a:pt x="15465" y="5246"/>
                  <a:pt x="15409" y="5421"/>
                  <a:pt x="15377" y="5663"/>
                </a:cubicBezTo>
                <a:cubicBezTo>
                  <a:pt x="15170" y="7261"/>
                  <a:pt x="14925" y="9107"/>
                  <a:pt x="14773" y="10483"/>
                </a:cubicBezTo>
                <a:cubicBezTo>
                  <a:pt x="14677" y="11351"/>
                  <a:pt x="14619" y="12173"/>
                  <a:pt x="14619" y="12665"/>
                </a:cubicBezTo>
                <a:close/>
                <a:moveTo>
                  <a:pt x="19138" y="5785"/>
                </a:moveTo>
                <a:cubicBezTo>
                  <a:pt x="19291" y="5520"/>
                  <a:pt x="19420" y="5503"/>
                  <a:pt x="19529" y="5583"/>
                </a:cubicBezTo>
                <a:cubicBezTo>
                  <a:pt x="19488" y="5895"/>
                  <a:pt x="19302" y="7261"/>
                  <a:pt x="19158" y="8490"/>
                </a:cubicBezTo>
                <a:cubicBezTo>
                  <a:pt x="18929" y="10417"/>
                  <a:pt x="18585" y="12362"/>
                  <a:pt x="18267" y="12639"/>
                </a:cubicBezTo>
                <a:cubicBezTo>
                  <a:pt x="18157" y="12754"/>
                  <a:pt x="18093" y="12583"/>
                  <a:pt x="18095" y="12183"/>
                </a:cubicBezTo>
                <a:cubicBezTo>
                  <a:pt x="18104" y="10478"/>
                  <a:pt x="18619" y="6672"/>
                  <a:pt x="19138" y="5785"/>
                </a:cubicBezTo>
                <a:close/>
                <a:moveTo>
                  <a:pt x="7191" y="11749"/>
                </a:moveTo>
                <a:cubicBezTo>
                  <a:pt x="7187" y="12996"/>
                  <a:pt x="7367" y="14037"/>
                  <a:pt x="7828" y="13977"/>
                </a:cubicBezTo>
                <a:cubicBezTo>
                  <a:pt x="8321" y="13929"/>
                  <a:pt x="8771" y="12887"/>
                  <a:pt x="9160" y="11395"/>
                </a:cubicBezTo>
                <a:cubicBezTo>
                  <a:pt x="9062" y="12352"/>
                  <a:pt x="8978" y="13174"/>
                  <a:pt x="8928" y="13618"/>
                </a:cubicBezTo>
                <a:cubicBezTo>
                  <a:pt x="8784" y="14935"/>
                  <a:pt x="8677" y="15997"/>
                  <a:pt x="8456" y="16614"/>
                </a:cubicBezTo>
                <a:lnTo>
                  <a:pt x="8480" y="16775"/>
                </a:lnTo>
                <a:cubicBezTo>
                  <a:pt x="9130" y="16912"/>
                  <a:pt x="9375" y="15243"/>
                  <a:pt x="9643" y="12520"/>
                </a:cubicBezTo>
                <a:cubicBezTo>
                  <a:pt x="9910" y="9793"/>
                  <a:pt x="10137" y="7425"/>
                  <a:pt x="10313" y="5780"/>
                </a:cubicBezTo>
                <a:cubicBezTo>
                  <a:pt x="10598" y="5780"/>
                  <a:pt x="11002" y="5817"/>
                  <a:pt x="11229" y="5631"/>
                </a:cubicBezTo>
                <a:cubicBezTo>
                  <a:pt x="10638" y="6588"/>
                  <a:pt x="10137" y="10023"/>
                  <a:pt x="10196" y="12286"/>
                </a:cubicBezTo>
                <a:cubicBezTo>
                  <a:pt x="10222" y="13286"/>
                  <a:pt x="10386" y="13978"/>
                  <a:pt x="10736" y="13978"/>
                </a:cubicBezTo>
                <a:cubicBezTo>
                  <a:pt x="11413" y="13978"/>
                  <a:pt x="11982" y="11053"/>
                  <a:pt x="12199" y="9126"/>
                </a:cubicBezTo>
                <a:cubicBezTo>
                  <a:pt x="12324" y="8020"/>
                  <a:pt x="12406" y="7075"/>
                  <a:pt x="12420" y="6128"/>
                </a:cubicBezTo>
                <a:cubicBezTo>
                  <a:pt x="12581" y="6026"/>
                  <a:pt x="12735" y="5923"/>
                  <a:pt x="12812" y="5883"/>
                </a:cubicBezTo>
                <a:cubicBezTo>
                  <a:pt x="12960" y="5808"/>
                  <a:pt x="12931" y="6407"/>
                  <a:pt x="12885" y="6856"/>
                </a:cubicBezTo>
                <a:cubicBezTo>
                  <a:pt x="12608" y="9678"/>
                  <a:pt x="12129" y="13774"/>
                  <a:pt x="12127" y="13838"/>
                </a:cubicBezTo>
                <a:lnTo>
                  <a:pt x="12656" y="13838"/>
                </a:lnTo>
                <a:cubicBezTo>
                  <a:pt x="12885" y="12098"/>
                  <a:pt x="13026" y="10986"/>
                  <a:pt x="13209" y="9799"/>
                </a:cubicBezTo>
                <a:cubicBezTo>
                  <a:pt x="13430" y="8408"/>
                  <a:pt x="13922" y="6112"/>
                  <a:pt x="14117" y="6108"/>
                </a:cubicBezTo>
                <a:cubicBezTo>
                  <a:pt x="14187" y="6108"/>
                  <a:pt x="14205" y="6267"/>
                  <a:pt x="14187" y="6515"/>
                </a:cubicBezTo>
                <a:cubicBezTo>
                  <a:pt x="14153" y="7460"/>
                  <a:pt x="13520" y="11075"/>
                  <a:pt x="13530" y="12861"/>
                </a:cubicBezTo>
                <a:cubicBezTo>
                  <a:pt x="13536" y="14028"/>
                  <a:pt x="13704" y="14735"/>
                  <a:pt x="13999" y="15000"/>
                </a:cubicBezTo>
                <a:lnTo>
                  <a:pt x="14060" y="14874"/>
                </a:lnTo>
                <a:cubicBezTo>
                  <a:pt x="14023" y="14619"/>
                  <a:pt x="14018" y="14302"/>
                  <a:pt x="14017" y="13929"/>
                </a:cubicBezTo>
                <a:cubicBezTo>
                  <a:pt x="14012" y="12738"/>
                  <a:pt x="14278" y="10651"/>
                  <a:pt x="14381" y="9842"/>
                </a:cubicBezTo>
                <a:cubicBezTo>
                  <a:pt x="14544" y="8570"/>
                  <a:pt x="14835" y="6713"/>
                  <a:pt x="14816" y="5696"/>
                </a:cubicBezTo>
                <a:cubicBezTo>
                  <a:pt x="14807" y="5197"/>
                  <a:pt x="14704" y="4753"/>
                  <a:pt x="14471" y="4747"/>
                </a:cubicBezTo>
                <a:cubicBezTo>
                  <a:pt x="14040" y="4739"/>
                  <a:pt x="13611" y="6267"/>
                  <a:pt x="13251" y="8318"/>
                </a:cubicBezTo>
                <a:lnTo>
                  <a:pt x="13241" y="8308"/>
                </a:lnTo>
                <a:cubicBezTo>
                  <a:pt x="13385" y="7116"/>
                  <a:pt x="13498" y="6010"/>
                  <a:pt x="13494" y="5471"/>
                </a:cubicBezTo>
                <a:cubicBezTo>
                  <a:pt x="13491" y="4978"/>
                  <a:pt x="13414" y="4785"/>
                  <a:pt x="13253" y="4785"/>
                </a:cubicBezTo>
                <a:cubicBezTo>
                  <a:pt x="13139" y="4797"/>
                  <a:pt x="12985" y="4954"/>
                  <a:pt x="12832" y="5105"/>
                </a:cubicBezTo>
                <a:cubicBezTo>
                  <a:pt x="12619" y="5306"/>
                  <a:pt x="12395" y="5518"/>
                  <a:pt x="12148" y="5706"/>
                </a:cubicBezTo>
                <a:cubicBezTo>
                  <a:pt x="11998" y="5780"/>
                  <a:pt x="11945" y="5882"/>
                  <a:pt x="11950" y="6080"/>
                </a:cubicBezTo>
                <a:cubicBezTo>
                  <a:pt x="11981" y="9212"/>
                  <a:pt x="11397" y="12892"/>
                  <a:pt x="11007" y="12905"/>
                </a:cubicBezTo>
                <a:cubicBezTo>
                  <a:pt x="10840" y="12905"/>
                  <a:pt x="10802" y="12459"/>
                  <a:pt x="10802" y="11843"/>
                </a:cubicBezTo>
                <a:cubicBezTo>
                  <a:pt x="10801" y="9677"/>
                  <a:pt x="11289" y="6041"/>
                  <a:pt x="11765" y="5463"/>
                </a:cubicBezTo>
                <a:cubicBezTo>
                  <a:pt x="11806" y="5421"/>
                  <a:pt x="11847" y="5389"/>
                  <a:pt x="11874" y="5357"/>
                </a:cubicBezTo>
                <a:lnTo>
                  <a:pt x="11935" y="4773"/>
                </a:lnTo>
                <a:cubicBezTo>
                  <a:pt x="11834" y="4850"/>
                  <a:pt x="11593" y="4863"/>
                  <a:pt x="11467" y="4875"/>
                </a:cubicBezTo>
                <a:lnTo>
                  <a:pt x="10421" y="4875"/>
                </a:lnTo>
                <a:cubicBezTo>
                  <a:pt x="10697" y="2471"/>
                  <a:pt x="11085" y="915"/>
                  <a:pt x="11653" y="823"/>
                </a:cubicBezTo>
                <a:cubicBezTo>
                  <a:pt x="12005" y="779"/>
                  <a:pt x="12243" y="1264"/>
                  <a:pt x="12264" y="2003"/>
                </a:cubicBezTo>
                <a:cubicBezTo>
                  <a:pt x="12278" y="2630"/>
                  <a:pt x="12231" y="3141"/>
                  <a:pt x="12093" y="3660"/>
                </a:cubicBezTo>
                <a:lnTo>
                  <a:pt x="12132" y="3802"/>
                </a:lnTo>
                <a:cubicBezTo>
                  <a:pt x="12443" y="3265"/>
                  <a:pt x="12658" y="2353"/>
                  <a:pt x="12659" y="1732"/>
                </a:cubicBezTo>
                <a:cubicBezTo>
                  <a:pt x="12663" y="767"/>
                  <a:pt x="12345" y="175"/>
                  <a:pt x="11837" y="193"/>
                </a:cubicBezTo>
                <a:cubicBezTo>
                  <a:pt x="11191" y="207"/>
                  <a:pt x="10396" y="739"/>
                  <a:pt x="9840" y="4943"/>
                </a:cubicBezTo>
                <a:cubicBezTo>
                  <a:pt x="9674" y="5036"/>
                  <a:pt x="9524" y="5265"/>
                  <a:pt x="9398" y="5758"/>
                </a:cubicBezTo>
                <a:lnTo>
                  <a:pt x="9421" y="5943"/>
                </a:lnTo>
                <a:cubicBezTo>
                  <a:pt x="9511" y="5825"/>
                  <a:pt x="9618" y="5807"/>
                  <a:pt x="9739" y="5807"/>
                </a:cubicBezTo>
                <a:cubicBezTo>
                  <a:pt x="9662" y="6494"/>
                  <a:pt x="9507" y="7990"/>
                  <a:pt x="9354" y="9529"/>
                </a:cubicBezTo>
                <a:cubicBezTo>
                  <a:pt x="8885" y="11784"/>
                  <a:pt x="8415" y="12859"/>
                  <a:pt x="8071" y="12859"/>
                </a:cubicBezTo>
                <a:cubicBezTo>
                  <a:pt x="7883" y="12880"/>
                  <a:pt x="7808" y="12503"/>
                  <a:pt x="7805" y="11842"/>
                </a:cubicBezTo>
                <a:cubicBezTo>
                  <a:pt x="7803" y="11427"/>
                  <a:pt x="7832" y="10850"/>
                  <a:pt x="7854" y="10549"/>
                </a:cubicBezTo>
                <a:cubicBezTo>
                  <a:pt x="8222" y="9873"/>
                  <a:pt x="8592" y="9114"/>
                  <a:pt x="8926" y="7862"/>
                </a:cubicBezTo>
                <a:cubicBezTo>
                  <a:pt x="9110" y="7136"/>
                  <a:pt x="9238" y="6406"/>
                  <a:pt x="9242" y="5654"/>
                </a:cubicBezTo>
                <a:cubicBezTo>
                  <a:pt x="9245" y="4943"/>
                  <a:pt x="9126" y="4582"/>
                  <a:pt x="8880" y="4568"/>
                </a:cubicBezTo>
                <a:cubicBezTo>
                  <a:pt x="8531" y="4553"/>
                  <a:pt x="8109" y="5428"/>
                  <a:pt x="7834" y="6494"/>
                </a:cubicBezTo>
                <a:cubicBezTo>
                  <a:pt x="7475" y="7927"/>
                  <a:pt x="7197" y="9950"/>
                  <a:pt x="7191" y="11749"/>
                </a:cubicBezTo>
                <a:close/>
                <a:moveTo>
                  <a:pt x="8720" y="5490"/>
                </a:moveTo>
                <a:cubicBezTo>
                  <a:pt x="8799" y="5490"/>
                  <a:pt x="8832" y="5689"/>
                  <a:pt x="8832" y="5944"/>
                </a:cubicBezTo>
                <a:cubicBezTo>
                  <a:pt x="8828" y="7146"/>
                  <a:pt x="8425" y="8686"/>
                  <a:pt x="7901" y="9810"/>
                </a:cubicBezTo>
                <a:cubicBezTo>
                  <a:pt x="8033" y="7947"/>
                  <a:pt x="8400" y="5472"/>
                  <a:pt x="8720" y="5490"/>
                </a:cubicBezTo>
                <a:close/>
                <a:moveTo>
                  <a:pt x="8720" y="5490"/>
                </a:moveTo>
              </a:path>
            </a:pathLst>
          </a:custGeom>
          <a:solidFill>
            <a:srgbClr val="00334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GB">
              <a:solidFill>
                <a:srgbClr val="003245"/>
              </a:solidFill>
            </a:endParaRPr>
          </a:p>
        </p:txBody>
      </p:sp>
      <p:sp>
        <p:nvSpPr>
          <p:cNvPr id="6148" name="Rectangle 13"/>
          <p:cNvSpPr>
            <a:spLocks/>
          </p:cNvSpPr>
          <p:nvPr/>
        </p:nvSpPr>
        <p:spPr bwMode="auto">
          <a:xfrm rot="10800000">
            <a:off x="7164292" y="6332538"/>
            <a:ext cx="864577" cy="49212"/>
          </a:xfrm>
          <a:prstGeom prst="rect">
            <a:avLst/>
          </a:prstGeom>
          <a:solidFill>
            <a:srgbClr val="156273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ES">
              <a:solidFill>
                <a:srgbClr val="003245"/>
              </a:solidFill>
            </a:endParaRPr>
          </a:p>
        </p:txBody>
      </p:sp>
      <p:sp>
        <p:nvSpPr>
          <p:cNvPr id="6149" name="Rectangle 12"/>
          <p:cNvSpPr>
            <a:spLocks/>
          </p:cNvSpPr>
          <p:nvPr/>
        </p:nvSpPr>
        <p:spPr bwMode="auto">
          <a:xfrm rot="10800000">
            <a:off x="8015680" y="6332538"/>
            <a:ext cx="1122485" cy="49212"/>
          </a:xfrm>
          <a:prstGeom prst="rect">
            <a:avLst/>
          </a:prstGeom>
          <a:solidFill>
            <a:srgbClr val="11536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ES">
              <a:solidFill>
                <a:srgbClr val="003245"/>
              </a:solidFill>
            </a:endParaRPr>
          </a:p>
        </p:txBody>
      </p:sp>
      <p:sp>
        <p:nvSpPr>
          <p:cNvPr id="6150" name="Rectangle 14"/>
          <p:cNvSpPr>
            <a:spLocks/>
          </p:cNvSpPr>
          <p:nvPr/>
        </p:nvSpPr>
        <p:spPr bwMode="auto">
          <a:xfrm rot="10800000">
            <a:off x="6268916" y="6332538"/>
            <a:ext cx="895350" cy="49212"/>
          </a:xfrm>
          <a:prstGeom prst="rect">
            <a:avLst/>
          </a:prstGeom>
          <a:solidFill>
            <a:srgbClr val="1C8494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ES">
              <a:solidFill>
                <a:srgbClr val="003245"/>
              </a:solidFill>
            </a:endParaRPr>
          </a:p>
        </p:txBody>
      </p:sp>
      <p:sp>
        <p:nvSpPr>
          <p:cNvPr id="6151" name="Rectangle 15"/>
          <p:cNvSpPr>
            <a:spLocks/>
          </p:cNvSpPr>
          <p:nvPr/>
        </p:nvSpPr>
        <p:spPr bwMode="auto">
          <a:xfrm rot="10800000">
            <a:off x="-5857" y="6332538"/>
            <a:ext cx="6274777" cy="49212"/>
          </a:xfrm>
          <a:prstGeom prst="rect">
            <a:avLst/>
          </a:prstGeom>
          <a:solidFill>
            <a:srgbClr val="29C6D4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ES">
              <a:solidFill>
                <a:srgbClr val="003245"/>
              </a:solidFill>
            </a:endParaRPr>
          </a:p>
        </p:txBody>
      </p:sp>
      <p:sp>
        <p:nvSpPr>
          <p:cNvPr id="1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425880" y="6464175"/>
            <a:ext cx="279065" cy="29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lang="en-US" sz="1000" smtClean="0">
                <a:solidFill>
                  <a:srgbClr val="072534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fld id="{9D9F8B9A-560A-470D-9EA6-79F5999904E6}" type="slidenum">
              <a:rPr lang="en-GB"/>
              <a:pPr/>
              <a:t>‹Nº›</a:t>
            </a:fld>
            <a:endParaRPr lang="en-GB" dirty="0"/>
          </a:p>
        </p:txBody>
      </p:sp>
      <p:sp>
        <p:nvSpPr>
          <p:cNvPr id="20" name="AutoShape 2"/>
          <p:cNvSpPr>
            <a:spLocks/>
          </p:cNvSpPr>
          <p:nvPr userDrawn="1"/>
        </p:nvSpPr>
        <p:spPr bwMode="auto">
          <a:xfrm>
            <a:off x="5521840" y="44450"/>
            <a:ext cx="3578225" cy="711200"/>
          </a:xfrm>
          <a:custGeom>
            <a:avLst/>
            <a:gdLst>
              <a:gd name="T0" fmla="*/ 2849 w 21600"/>
              <a:gd name="T1" fmla="*/ 2083 h 21600"/>
              <a:gd name="T2" fmla="*/ 2593 w 21600"/>
              <a:gd name="T3" fmla="*/ 15539 h 21600"/>
              <a:gd name="T4" fmla="*/ 0 w 21600"/>
              <a:gd name="T5" fmla="*/ 18263 h 21600"/>
              <a:gd name="T6" fmla="*/ 1595 w 21600"/>
              <a:gd name="T7" fmla="*/ 0 h 21600"/>
              <a:gd name="T8" fmla="*/ 1126 w 21600"/>
              <a:gd name="T9" fmla="*/ 15219 h 21600"/>
              <a:gd name="T10" fmla="*/ 2351 w 21600"/>
              <a:gd name="T11" fmla="*/ 7210 h 21600"/>
              <a:gd name="T12" fmla="*/ 1575 w 21600"/>
              <a:gd name="T13" fmla="*/ 3045 h 21600"/>
              <a:gd name="T14" fmla="*/ 869 w 21600"/>
              <a:gd name="T15" fmla="*/ 15219 h 21600"/>
              <a:gd name="T16" fmla="*/ 5541 w 21600"/>
              <a:gd name="T17" fmla="*/ 10574 h 21600"/>
              <a:gd name="T18" fmla="*/ 4484 w 21600"/>
              <a:gd name="T19" fmla="*/ 7450 h 21600"/>
              <a:gd name="T20" fmla="*/ 6079 w 21600"/>
              <a:gd name="T21" fmla="*/ 3018 h 21600"/>
              <a:gd name="T22" fmla="*/ 3956 w 21600"/>
              <a:gd name="T23" fmla="*/ 1 h 21600"/>
              <a:gd name="T24" fmla="*/ 5669 w 21600"/>
              <a:gd name="T25" fmla="*/ 18263 h 21600"/>
              <a:gd name="T26" fmla="*/ 4232 w 21600"/>
              <a:gd name="T27" fmla="*/ 15246 h 21600"/>
              <a:gd name="T28" fmla="*/ 8514 w 21600"/>
              <a:gd name="T29" fmla="*/ 18262 h 21600"/>
              <a:gd name="T30" fmla="*/ 7111 w 21600"/>
              <a:gd name="T31" fmla="*/ 15245 h 21600"/>
              <a:gd name="T32" fmla="*/ 6840 w 21600"/>
              <a:gd name="T33" fmla="*/ 0 h 21600"/>
              <a:gd name="T34" fmla="*/ 8514 w 21600"/>
              <a:gd name="T35" fmla="*/ 18262 h 21600"/>
              <a:gd name="T36" fmla="*/ 9793 w 21600"/>
              <a:gd name="T37" fmla="*/ 18263 h 21600"/>
              <a:gd name="T38" fmla="*/ 9615 w 21600"/>
              <a:gd name="T39" fmla="*/ 0 h 21600"/>
              <a:gd name="T40" fmla="*/ 10830 w 21600"/>
              <a:gd name="T41" fmla="*/ 0 h 21600"/>
              <a:gd name="T42" fmla="*/ 12247 w 21600"/>
              <a:gd name="T43" fmla="*/ 18263 h 21600"/>
              <a:gd name="T44" fmla="*/ 13170 w 21600"/>
              <a:gd name="T45" fmla="*/ 0 h 21600"/>
              <a:gd name="T46" fmla="*/ 11625 w 21600"/>
              <a:gd name="T47" fmla="*/ 0 h 21600"/>
              <a:gd name="T48" fmla="*/ 14790 w 21600"/>
              <a:gd name="T49" fmla="*/ 10574 h 21600"/>
              <a:gd name="T50" fmla="*/ 16054 w 21600"/>
              <a:gd name="T51" fmla="*/ 7450 h 21600"/>
              <a:gd name="T52" fmla="*/ 15037 w 21600"/>
              <a:gd name="T53" fmla="*/ 3018 h 21600"/>
              <a:gd name="T54" fmla="*/ 16647 w 21600"/>
              <a:gd name="T55" fmla="*/ 1 h 21600"/>
              <a:gd name="T56" fmla="*/ 13773 w 21600"/>
              <a:gd name="T57" fmla="*/ 18263 h 21600"/>
              <a:gd name="T58" fmla="*/ 16173 w 21600"/>
              <a:gd name="T59" fmla="*/ 15246 h 21600"/>
              <a:gd name="T60" fmla="*/ 14790 w 21600"/>
              <a:gd name="T61" fmla="*/ 10574 h 21600"/>
              <a:gd name="T62" fmla="*/ 18790 w 21600"/>
              <a:gd name="T63" fmla="*/ 10947 h 21600"/>
              <a:gd name="T64" fmla="*/ 18489 w 21600"/>
              <a:gd name="T65" fmla="*/ 18262 h 21600"/>
              <a:gd name="T66" fmla="*/ 17640 w 21600"/>
              <a:gd name="T67" fmla="*/ 11641 h 21600"/>
              <a:gd name="T68" fmla="*/ 16657 w 21600"/>
              <a:gd name="T69" fmla="*/ 18262 h 21600"/>
              <a:gd name="T70" fmla="*/ 18400 w 21600"/>
              <a:gd name="T71" fmla="*/ 0 h 21600"/>
              <a:gd name="T72" fmla="*/ 19580 w 21600"/>
              <a:gd name="T73" fmla="*/ 5207 h 21600"/>
              <a:gd name="T74" fmla="*/ 17738 w 21600"/>
              <a:gd name="T75" fmla="*/ 8624 h 21600"/>
              <a:gd name="T76" fmla="*/ 18627 w 21600"/>
              <a:gd name="T77" fmla="*/ 7663 h 21600"/>
              <a:gd name="T78" fmla="*/ 18716 w 21600"/>
              <a:gd name="T79" fmla="*/ 3685 h 21600"/>
              <a:gd name="T80" fmla="*/ 17921 w 21600"/>
              <a:gd name="T81" fmla="*/ 3017 h 21600"/>
              <a:gd name="T82" fmla="*/ 21511 w 21600"/>
              <a:gd name="T83" fmla="*/ 21600 h 21600"/>
              <a:gd name="T84" fmla="*/ 19482 w 21600"/>
              <a:gd name="T85" fmla="*/ 19011 h 21600"/>
              <a:gd name="T86" fmla="*/ 21511 w 21600"/>
              <a:gd name="T87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1600" h="21600">
                <a:moveTo>
                  <a:pt x="1595" y="0"/>
                </a:moveTo>
                <a:cubicBezTo>
                  <a:pt x="2099" y="0"/>
                  <a:pt x="2568" y="481"/>
                  <a:pt x="2849" y="2083"/>
                </a:cubicBezTo>
                <a:cubicBezTo>
                  <a:pt x="3072" y="3338"/>
                  <a:pt x="3146" y="5074"/>
                  <a:pt x="3146" y="7129"/>
                </a:cubicBezTo>
                <a:cubicBezTo>
                  <a:pt x="3146" y="10386"/>
                  <a:pt x="2963" y="13484"/>
                  <a:pt x="2593" y="15539"/>
                </a:cubicBezTo>
                <a:cubicBezTo>
                  <a:pt x="2203" y="17702"/>
                  <a:pt x="1659" y="18263"/>
                  <a:pt x="1047" y="18263"/>
                </a:cubicBezTo>
                <a:lnTo>
                  <a:pt x="0" y="18263"/>
                </a:lnTo>
                <a:lnTo>
                  <a:pt x="593" y="0"/>
                </a:lnTo>
                <a:lnTo>
                  <a:pt x="1595" y="0"/>
                </a:lnTo>
                <a:close/>
                <a:moveTo>
                  <a:pt x="869" y="15219"/>
                </a:moveTo>
                <a:lnTo>
                  <a:pt x="1126" y="15219"/>
                </a:lnTo>
                <a:cubicBezTo>
                  <a:pt x="1546" y="15219"/>
                  <a:pt x="1822" y="14659"/>
                  <a:pt x="2039" y="12977"/>
                </a:cubicBezTo>
                <a:cubicBezTo>
                  <a:pt x="2217" y="11588"/>
                  <a:pt x="2351" y="9479"/>
                  <a:pt x="2351" y="7210"/>
                </a:cubicBezTo>
                <a:cubicBezTo>
                  <a:pt x="2351" y="5821"/>
                  <a:pt x="2301" y="4833"/>
                  <a:pt x="2188" y="4138"/>
                </a:cubicBezTo>
                <a:cubicBezTo>
                  <a:pt x="2069" y="3419"/>
                  <a:pt x="1881" y="3045"/>
                  <a:pt x="1575" y="3045"/>
                </a:cubicBezTo>
                <a:lnTo>
                  <a:pt x="1264" y="3045"/>
                </a:lnTo>
                <a:lnTo>
                  <a:pt x="869" y="15219"/>
                </a:lnTo>
                <a:close/>
                <a:moveTo>
                  <a:pt x="4380" y="10574"/>
                </a:moveTo>
                <a:lnTo>
                  <a:pt x="5541" y="10574"/>
                </a:lnTo>
                <a:lnTo>
                  <a:pt x="5644" y="7450"/>
                </a:lnTo>
                <a:lnTo>
                  <a:pt x="4484" y="7450"/>
                </a:lnTo>
                <a:lnTo>
                  <a:pt x="4627" y="3018"/>
                </a:lnTo>
                <a:lnTo>
                  <a:pt x="6079" y="3018"/>
                </a:lnTo>
                <a:lnTo>
                  <a:pt x="6237" y="1"/>
                </a:lnTo>
                <a:lnTo>
                  <a:pt x="3956" y="1"/>
                </a:lnTo>
                <a:lnTo>
                  <a:pt x="3363" y="18263"/>
                </a:lnTo>
                <a:lnTo>
                  <a:pt x="5669" y="18263"/>
                </a:lnTo>
                <a:lnTo>
                  <a:pt x="5763" y="15246"/>
                </a:lnTo>
                <a:lnTo>
                  <a:pt x="4232" y="15246"/>
                </a:lnTo>
                <a:lnTo>
                  <a:pt x="4380" y="10574"/>
                </a:lnTo>
                <a:close/>
                <a:moveTo>
                  <a:pt x="8514" y="18262"/>
                </a:moveTo>
                <a:lnTo>
                  <a:pt x="8607" y="15245"/>
                </a:lnTo>
                <a:lnTo>
                  <a:pt x="7111" y="15245"/>
                </a:lnTo>
                <a:lnTo>
                  <a:pt x="7610" y="0"/>
                </a:lnTo>
                <a:lnTo>
                  <a:pt x="6840" y="0"/>
                </a:lnTo>
                <a:lnTo>
                  <a:pt x="6247" y="18262"/>
                </a:lnTo>
                <a:lnTo>
                  <a:pt x="8514" y="18262"/>
                </a:lnTo>
                <a:close/>
                <a:moveTo>
                  <a:pt x="9022" y="18263"/>
                </a:moveTo>
                <a:lnTo>
                  <a:pt x="9793" y="18263"/>
                </a:lnTo>
                <a:lnTo>
                  <a:pt x="10385" y="0"/>
                </a:lnTo>
                <a:lnTo>
                  <a:pt x="9615" y="0"/>
                </a:lnTo>
                <a:lnTo>
                  <a:pt x="9022" y="18263"/>
                </a:lnTo>
                <a:close/>
                <a:moveTo>
                  <a:pt x="10830" y="0"/>
                </a:moveTo>
                <a:lnTo>
                  <a:pt x="11412" y="18263"/>
                </a:lnTo>
                <a:lnTo>
                  <a:pt x="12247" y="18263"/>
                </a:lnTo>
                <a:lnTo>
                  <a:pt x="13961" y="0"/>
                </a:lnTo>
                <a:lnTo>
                  <a:pt x="13170" y="0"/>
                </a:lnTo>
                <a:lnTo>
                  <a:pt x="11995" y="13457"/>
                </a:lnTo>
                <a:lnTo>
                  <a:pt x="11625" y="0"/>
                </a:lnTo>
                <a:lnTo>
                  <a:pt x="10830" y="0"/>
                </a:lnTo>
                <a:close/>
                <a:moveTo>
                  <a:pt x="14790" y="10574"/>
                </a:moveTo>
                <a:lnTo>
                  <a:pt x="15951" y="10574"/>
                </a:lnTo>
                <a:lnTo>
                  <a:pt x="16054" y="7450"/>
                </a:lnTo>
                <a:lnTo>
                  <a:pt x="14894" y="7450"/>
                </a:lnTo>
                <a:lnTo>
                  <a:pt x="15037" y="3018"/>
                </a:lnTo>
                <a:lnTo>
                  <a:pt x="16489" y="3018"/>
                </a:lnTo>
                <a:lnTo>
                  <a:pt x="16647" y="1"/>
                </a:lnTo>
                <a:lnTo>
                  <a:pt x="14365" y="1"/>
                </a:lnTo>
                <a:lnTo>
                  <a:pt x="13773" y="18263"/>
                </a:lnTo>
                <a:lnTo>
                  <a:pt x="16079" y="18263"/>
                </a:lnTo>
                <a:lnTo>
                  <a:pt x="16173" y="15246"/>
                </a:lnTo>
                <a:lnTo>
                  <a:pt x="14642" y="15246"/>
                </a:lnTo>
                <a:lnTo>
                  <a:pt x="14790" y="10574"/>
                </a:lnTo>
                <a:close/>
                <a:moveTo>
                  <a:pt x="19397" y="8597"/>
                </a:moveTo>
                <a:cubicBezTo>
                  <a:pt x="19269" y="9559"/>
                  <a:pt x="19062" y="10360"/>
                  <a:pt x="18790" y="10947"/>
                </a:cubicBezTo>
                <a:lnTo>
                  <a:pt x="19314" y="18262"/>
                </a:lnTo>
                <a:lnTo>
                  <a:pt x="18489" y="18262"/>
                </a:lnTo>
                <a:lnTo>
                  <a:pt x="18094" y="11641"/>
                </a:lnTo>
                <a:lnTo>
                  <a:pt x="17640" y="11641"/>
                </a:lnTo>
                <a:lnTo>
                  <a:pt x="17427" y="18262"/>
                </a:lnTo>
                <a:lnTo>
                  <a:pt x="16657" y="18262"/>
                </a:lnTo>
                <a:lnTo>
                  <a:pt x="17249" y="0"/>
                </a:lnTo>
                <a:lnTo>
                  <a:pt x="18400" y="0"/>
                </a:lnTo>
                <a:cubicBezTo>
                  <a:pt x="18820" y="0"/>
                  <a:pt x="19111" y="481"/>
                  <a:pt x="19294" y="1336"/>
                </a:cubicBezTo>
                <a:cubicBezTo>
                  <a:pt x="19496" y="2269"/>
                  <a:pt x="19580" y="3631"/>
                  <a:pt x="19580" y="5207"/>
                </a:cubicBezTo>
                <a:cubicBezTo>
                  <a:pt x="19580" y="6514"/>
                  <a:pt x="19521" y="7663"/>
                  <a:pt x="19397" y="8597"/>
                </a:cubicBezTo>
                <a:moveTo>
                  <a:pt x="17738" y="8624"/>
                </a:moveTo>
                <a:lnTo>
                  <a:pt x="18035" y="8624"/>
                </a:lnTo>
                <a:cubicBezTo>
                  <a:pt x="18272" y="8624"/>
                  <a:pt x="18484" y="8383"/>
                  <a:pt x="18627" y="7663"/>
                </a:cubicBezTo>
                <a:cubicBezTo>
                  <a:pt x="18741" y="7103"/>
                  <a:pt x="18815" y="6195"/>
                  <a:pt x="18815" y="5233"/>
                </a:cubicBezTo>
                <a:cubicBezTo>
                  <a:pt x="18815" y="4619"/>
                  <a:pt x="18785" y="4059"/>
                  <a:pt x="18716" y="3685"/>
                </a:cubicBezTo>
                <a:cubicBezTo>
                  <a:pt x="18637" y="3258"/>
                  <a:pt x="18514" y="3017"/>
                  <a:pt x="18306" y="3017"/>
                </a:cubicBezTo>
                <a:lnTo>
                  <a:pt x="17921" y="3017"/>
                </a:lnTo>
                <a:lnTo>
                  <a:pt x="17738" y="8624"/>
                </a:lnTo>
                <a:close/>
                <a:moveTo>
                  <a:pt x="21511" y="21600"/>
                </a:moveTo>
                <a:lnTo>
                  <a:pt x="21600" y="19011"/>
                </a:lnTo>
                <a:lnTo>
                  <a:pt x="19482" y="19011"/>
                </a:lnTo>
                <a:lnTo>
                  <a:pt x="19393" y="21600"/>
                </a:lnTo>
                <a:lnTo>
                  <a:pt x="21511" y="21600"/>
                </a:lnTo>
                <a:close/>
                <a:moveTo>
                  <a:pt x="21511" y="21600"/>
                </a:moveTo>
              </a:path>
            </a:pathLst>
          </a:custGeom>
          <a:solidFill>
            <a:schemeClr val="accent1">
              <a:alpha val="25000"/>
            </a:schemeClr>
          </a:solidFill>
          <a:ln>
            <a:noFill/>
          </a:ln>
        </p:spPr>
        <p:txBody>
          <a:bodyPr lIns="0" tIns="0" rIns="0" bIns="0"/>
          <a:lstStyle/>
          <a:p>
            <a:endParaRPr lang="es-ES">
              <a:solidFill>
                <a:srgbClr val="003245"/>
              </a:solidFill>
            </a:endParaRPr>
          </a:p>
        </p:txBody>
      </p:sp>
      <p:sp>
        <p:nvSpPr>
          <p:cNvPr id="21" name="AutoShape 2"/>
          <p:cNvSpPr>
            <a:spLocks noChangeAspect="1"/>
          </p:cNvSpPr>
          <p:nvPr userDrawn="1"/>
        </p:nvSpPr>
        <p:spPr bwMode="auto">
          <a:xfrm>
            <a:off x="6502358" y="476250"/>
            <a:ext cx="2383701" cy="423427"/>
          </a:xfrm>
          <a:custGeom>
            <a:avLst/>
            <a:gdLst>
              <a:gd name="T0" fmla="*/ 2849 w 21600"/>
              <a:gd name="T1" fmla="*/ 2083 h 21600"/>
              <a:gd name="T2" fmla="*/ 2593 w 21600"/>
              <a:gd name="T3" fmla="*/ 15539 h 21600"/>
              <a:gd name="T4" fmla="*/ 0 w 21600"/>
              <a:gd name="T5" fmla="*/ 18263 h 21600"/>
              <a:gd name="T6" fmla="*/ 1595 w 21600"/>
              <a:gd name="T7" fmla="*/ 0 h 21600"/>
              <a:gd name="T8" fmla="*/ 1126 w 21600"/>
              <a:gd name="T9" fmla="*/ 15219 h 21600"/>
              <a:gd name="T10" fmla="*/ 2351 w 21600"/>
              <a:gd name="T11" fmla="*/ 7210 h 21600"/>
              <a:gd name="T12" fmla="*/ 1575 w 21600"/>
              <a:gd name="T13" fmla="*/ 3045 h 21600"/>
              <a:gd name="T14" fmla="*/ 869 w 21600"/>
              <a:gd name="T15" fmla="*/ 15219 h 21600"/>
              <a:gd name="T16" fmla="*/ 5541 w 21600"/>
              <a:gd name="T17" fmla="*/ 10574 h 21600"/>
              <a:gd name="T18" fmla="*/ 4484 w 21600"/>
              <a:gd name="T19" fmla="*/ 7450 h 21600"/>
              <a:gd name="T20" fmla="*/ 6079 w 21600"/>
              <a:gd name="T21" fmla="*/ 3018 h 21600"/>
              <a:gd name="T22" fmla="*/ 3956 w 21600"/>
              <a:gd name="T23" fmla="*/ 1 h 21600"/>
              <a:gd name="T24" fmla="*/ 5669 w 21600"/>
              <a:gd name="T25" fmla="*/ 18263 h 21600"/>
              <a:gd name="T26" fmla="*/ 4232 w 21600"/>
              <a:gd name="T27" fmla="*/ 15246 h 21600"/>
              <a:gd name="T28" fmla="*/ 8514 w 21600"/>
              <a:gd name="T29" fmla="*/ 18262 h 21600"/>
              <a:gd name="T30" fmla="*/ 7111 w 21600"/>
              <a:gd name="T31" fmla="*/ 15245 h 21600"/>
              <a:gd name="T32" fmla="*/ 6840 w 21600"/>
              <a:gd name="T33" fmla="*/ 0 h 21600"/>
              <a:gd name="T34" fmla="*/ 8514 w 21600"/>
              <a:gd name="T35" fmla="*/ 18262 h 21600"/>
              <a:gd name="T36" fmla="*/ 9793 w 21600"/>
              <a:gd name="T37" fmla="*/ 18263 h 21600"/>
              <a:gd name="T38" fmla="*/ 9615 w 21600"/>
              <a:gd name="T39" fmla="*/ 0 h 21600"/>
              <a:gd name="T40" fmla="*/ 10830 w 21600"/>
              <a:gd name="T41" fmla="*/ 0 h 21600"/>
              <a:gd name="T42" fmla="*/ 12247 w 21600"/>
              <a:gd name="T43" fmla="*/ 18263 h 21600"/>
              <a:gd name="T44" fmla="*/ 13170 w 21600"/>
              <a:gd name="T45" fmla="*/ 0 h 21600"/>
              <a:gd name="T46" fmla="*/ 11625 w 21600"/>
              <a:gd name="T47" fmla="*/ 0 h 21600"/>
              <a:gd name="T48" fmla="*/ 14790 w 21600"/>
              <a:gd name="T49" fmla="*/ 10574 h 21600"/>
              <a:gd name="T50" fmla="*/ 16054 w 21600"/>
              <a:gd name="T51" fmla="*/ 7450 h 21600"/>
              <a:gd name="T52" fmla="*/ 15037 w 21600"/>
              <a:gd name="T53" fmla="*/ 3018 h 21600"/>
              <a:gd name="T54" fmla="*/ 16647 w 21600"/>
              <a:gd name="T55" fmla="*/ 1 h 21600"/>
              <a:gd name="T56" fmla="*/ 13773 w 21600"/>
              <a:gd name="T57" fmla="*/ 18263 h 21600"/>
              <a:gd name="T58" fmla="*/ 16173 w 21600"/>
              <a:gd name="T59" fmla="*/ 15246 h 21600"/>
              <a:gd name="T60" fmla="*/ 14790 w 21600"/>
              <a:gd name="T61" fmla="*/ 10574 h 21600"/>
              <a:gd name="T62" fmla="*/ 18790 w 21600"/>
              <a:gd name="T63" fmla="*/ 10947 h 21600"/>
              <a:gd name="T64" fmla="*/ 18489 w 21600"/>
              <a:gd name="T65" fmla="*/ 18262 h 21600"/>
              <a:gd name="T66" fmla="*/ 17640 w 21600"/>
              <a:gd name="T67" fmla="*/ 11641 h 21600"/>
              <a:gd name="T68" fmla="*/ 16657 w 21600"/>
              <a:gd name="T69" fmla="*/ 18262 h 21600"/>
              <a:gd name="T70" fmla="*/ 18400 w 21600"/>
              <a:gd name="T71" fmla="*/ 0 h 21600"/>
              <a:gd name="T72" fmla="*/ 19580 w 21600"/>
              <a:gd name="T73" fmla="*/ 5207 h 21600"/>
              <a:gd name="T74" fmla="*/ 17738 w 21600"/>
              <a:gd name="T75" fmla="*/ 8624 h 21600"/>
              <a:gd name="T76" fmla="*/ 18627 w 21600"/>
              <a:gd name="T77" fmla="*/ 7663 h 21600"/>
              <a:gd name="T78" fmla="*/ 18716 w 21600"/>
              <a:gd name="T79" fmla="*/ 3685 h 21600"/>
              <a:gd name="T80" fmla="*/ 17921 w 21600"/>
              <a:gd name="T81" fmla="*/ 3017 h 21600"/>
              <a:gd name="T82" fmla="*/ 21511 w 21600"/>
              <a:gd name="T83" fmla="*/ 21600 h 21600"/>
              <a:gd name="T84" fmla="*/ 19482 w 21600"/>
              <a:gd name="T85" fmla="*/ 19011 h 21600"/>
              <a:gd name="T86" fmla="*/ 21511 w 21600"/>
              <a:gd name="T87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1600" h="21600">
                <a:moveTo>
                  <a:pt x="1595" y="0"/>
                </a:moveTo>
                <a:cubicBezTo>
                  <a:pt x="2099" y="0"/>
                  <a:pt x="2568" y="481"/>
                  <a:pt x="2849" y="2083"/>
                </a:cubicBezTo>
                <a:cubicBezTo>
                  <a:pt x="3072" y="3338"/>
                  <a:pt x="3146" y="5074"/>
                  <a:pt x="3146" y="7129"/>
                </a:cubicBezTo>
                <a:cubicBezTo>
                  <a:pt x="3146" y="10386"/>
                  <a:pt x="2963" y="13484"/>
                  <a:pt x="2593" y="15539"/>
                </a:cubicBezTo>
                <a:cubicBezTo>
                  <a:pt x="2203" y="17702"/>
                  <a:pt x="1659" y="18263"/>
                  <a:pt x="1047" y="18263"/>
                </a:cubicBezTo>
                <a:lnTo>
                  <a:pt x="0" y="18263"/>
                </a:lnTo>
                <a:lnTo>
                  <a:pt x="593" y="0"/>
                </a:lnTo>
                <a:lnTo>
                  <a:pt x="1595" y="0"/>
                </a:lnTo>
                <a:close/>
                <a:moveTo>
                  <a:pt x="869" y="15219"/>
                </a:moveTo>
                <a:lnTo>
                  <a:pt x="1126" y="15219"/>
                </a:lnTo>
                <a:cubicBezTo>
                  <a:pt x="1546" y="15219"/>
                  <a:pt x="1822" y="14659"/>
                  <a:pt x="2039" y="12977"/>
                </a:cubicBezTo>
                <a:cubicBezTo>
                  <a:pt x="2217" y="11588"/>
                  <a:pt x="2351" y="9479"/>
                  <a:pt x="2351" y="7210"/>
                </a:cubicBezTo>
                <a:cubicBezTo>
                  <a:pt x="2351" y="5821"/>
                  <a:pt x="2301" y="4833"/>
                  <a:pt x="2188" y="4138"/>
                </a:cubicBezTo>
                <a:cubicBezTo>
                  <a:pt x="2069" y="3419"/>
                  <a:pt x="1881" y="3045"/>
                  <a:pt x="1575" y="3045"/>
                </a:cubicBezTo>
                <a:lnTo>
                  <a:pt x="1264" y="3045"/>
                </a:lnTo>
                <a:lnTo>
                  <a:pt x="869" y="15219"/>
                </a:lnTo>
                <a:close/>
                <a:moveTo>
                  <a:pt x="4380" y="10574"/>
                </a:moveTo>
                <a:lnTo>
                  <a:pt x="5541" y="10574"/>
                </a:lnTo>
                <a:lnTo>
                  <a:pt x="5644" y="7450"/>
                </a:lnTo>
                <a:lnTo>
                  <a:pt x="4484" y="7450"/>
                </a:lnTo>
                <a:lnTo>
                  <a:pt x="4627" y="3018"/>
                </a:lnTo>
                <a:lnTo>
                  <a:pt x="6079" y="3018"/>
                </a:lnTo>
                <a:lnTo>
                  <a:pt x="6237" y="1"/>
                </a:lnTo>
                <a:lnTo>
                  <a:pt x="3956" y="1"/>
                </a:lnTo>
                <a:lnTo>
                  <a:pt x="3363" y="18263"/>
                </a:lnTo>
                <a:lnTo>
                  <a:pt x="5669" y="18263"/>
                </a:lnTo>
                <a:lnTo>
                  <a:pt x="5763" y="15246"/>
                </a:lnTo>
                <a:lnTo>
                  <a:pt x="4232" y="15246"/>
                </a:lnTo>
                <a:lnTo>
                  <a:pt x="4380" y="10574"/>
                </a:lnTo>
                <a:close/>
                <a:moveTo>
                  <a:pt x="8514" y="18262"/>
                </a:moveTo>
                <a:lnTo>
                  <a:pt x="8607" y="15245"/>
                </a:lnTo>
                <a:lnTo>
                  <a:pt x="7111" y="15245"/>
                </a:lnTo>
                <a:lnTo>
                  <a:pt x="7610" y="0"/>
                </a:lnTo>
                <a:lnTo>
                  <a:pt x="6840" y="0"/>
                </a:lnTo>
                <a:lnTo>
                  <a:pt x="6247" y="18262"/>
                </a:lnTo>
                <a:lnTo>
                  <a:pt x="8514" y="18262"/>
                </a:lnTo>
                <a:close/>
                <a:moveTo>
                  <a:pt x="9022" y="18263"/>
                </a:moveTo>
                <a:lnTo>
                  <a:pt x="9793" y="18263"/>
                </a:lnTo>
                <a:lnTo>
                  <a:pt x="10385" y="0"/>
                </a:lnTo>
                <a:lnTo>
                  <a:pt x="9615" y="0"/>
                </a:lnTo>
                <a:lnTo>
                  <a:pt x="9022" y="18263"/>
                </a:lnTo>
                <a:close/>
                <a:moveTo>
                  <a:pt x="10830" y="0"/>
                </a:moveTo>
                <a:lnTo>
                  <a:pt x="11412" y="18263"/>
                </a:lnTo>
                <a:lnTo>
                  <a:pt x="12247" y="18263"/>
                </a:lnTo>
                <a:lnTo>
                  <a:pt x="13961" y="0"/>
                </a:lnTo>
                <a:lnTo>
                  <a:pt x="13170" y="0"/>
                </a:lnTo>
                <a:lnTo>
                  <a:pt x="11995" y="13457"/>
                </a:lnTo>
                <a:lnTo>
                  <a:pt x="11625" y="0"/>
                </a:lnTo>
                <a:lnTo>
                  <a:pt x="10830" y="0"/>
                </a:lnTo>
                <a:close/>
                <a:moveTo>
                  <a:pt x="14790" y="10574"/>
                </a:moveTo>
                <a:lnTo>
                  <a:pt x="15951" y="10574"/>
                </a:lnTo>
                <a:lnTo>
                  <a:pt x="16054" y="7450"/>
                </a:lnTo>
                <a:lnTo>
                  <a:pt x="14894" y="7450"/>
                </a:lnTo>
                <a:lnTo>
                  <a:pt x="15037" y="3018"/>
                </a:lnTo>
                <a:lnTo>
                  <a:pt x="16489" y="3018"/>
                </a:lnTo>
                <a:lnTo>
                  <a:pt x="16647" y="1"/>
                </a:lnTo>
                <a:lnTo>
                  <a:pt x="14365" y="1"/>
                </a:lnTo>
                <a:lnTo>
                  <a:pt x="13773" y="18263"/>
                </a:lnTo>
                <a:lnTo>
                  <a:pt x="16079" y="18263"/>
                </a:lnTo>
                <a:lnTo>
                  <a:pt x="16173" y="15246"/>
                </a:lnTo>
                <a:lnTo>
                  <a:pt x="14642" y="15246"/>
                </a:lnTo>
                <a:lnTo>
                  <a:pt x="14790" y="10574"/>
                </a:lnTo>
                <a:close/>
                <a:moveTo>
                  <a:pt x="19397" y="8597"/>
                </a:moveTo>
                <a:cubicBezTo>
                  <a:pt x="19269" y="9559"/>
                  <a:pt x="19062" y="10360"/>
                  <a:pt x="18790" y="10947"/>
                </a:cubicBezTo>
                <a:lnTo>
                  <a:pt x="19314" y="18262"/>
                </a:lnTo>
                <a:lnTo>
                  <a:pt x="18489" y="18262"/>
                </a:lnTo>
                <a:lnTo>
                  <a:pt x="18094" y="11641"/>
                </a:lnTo>
                <a:lnTo>
                  <a:pt x="17640" y="11641"/>
                </a:lnTo>
                <a:lnTo>
                  <a:pt x="17427" y="18262"/>
                </a:lnTo>
                <a:lnTo>
                  <a:pt x="16657" y="18262"/>
                </a:lnTo>
                <a:lnTo>
                  <a:pt x="17249" y="0"/>
                </a:lnTo>
                <a:lnTo>
                  <a:pt x="18400" y="0"/>
                </a:lnTo>
                <a:cubicBezTo>
                  <a:pt x="18820" y="0"/>
                  <a:pt x="19111" y="481"/>
                  <a:pt x="19294" y="1336"/>
                </a:cubicBezTo>
                <a:cubicBezTo>
                  <a:pt x="19496" y="2269"/>
                  <a:pt x="19580" y="3631"/>
                  <a:pt x="19580" y="5207"/>
                </a:cubicBezTo>
                <a:cubicBezTo>
                  <a:pt x="19580" y="6514"/>
                  <a:pt x="19521" y="7663"/>
                  <a:pt x="19397" y="8597"/>
                </a:cubicBezTo>
                <a:moveTo>
                  <a:pt x="17738" y="8624"/>
                </a:moveTo>
                <a:lnTo>
                  <a:pt x="18035" y="8624"/>
                </a:lnTo>
                <a:cubicBezTo>
                  <a:pt x="18272" y="8624"/>
                  <a:pt x="18484" y="8383"/>
                  <a:pt x="18627" y="7663"/>
                </a:cubicBezTo>
                <a:cubicBezTo>
                  <a:pt x="18741" y="7103"/>
                  <a:pt x="18815" y="6195"/>
                  <a:pt x="18815" y="5233"/>
                </a:cubicBezTo>
                <a:cubicBezTo>
                  <a:pt x="18815" y="4619"/>
                  <a:pt x="18785" y="4059"/>
                  <a:pt x="18716" y="3685"/>
                </a:cubicBezTo>
                <a:cubicBezTo>
                  <a:pt x="18637" y="3258"/>
                  <a:pt x="18514" y="3017"/>
                  <a:pt x="18306" y="3017"/>
                </a:cubicBezTo>
                <a:lnTo>
                  <a:pt x="17921" y="3017"/>
                </a:lnTo>
                <a:lnTo>
                  <a:pt x="17738" y="8624"/>
                </a:lnTo>
                <a:close/>
                <a:moveTo>
                  <a:pt x="21511" y="21600"/>
                </a:moveTo>
                <a:lnTo>
                  <a:pt x="21600" y="19011"/>
                </a:lnTo>
                <a:lnTo>
                  <a:pt x="19482" y="19011"/>
                </a:lnTo>
                <a:lnTo>
                  <a:pt x="19393" y="21600"/>
                </a:lnTo>
                <a:lnTo>
                  <a:pt x="21511" y="21600"/>
                </a:lnTo>
                <a:close/>
                <a:moveTo>
                  <a:pt x="21511" y="21600"/>
                </a:moveTo>
              </a:path>
            </a:pathLst>
          </a:custGeom>
          <a:solidFill>
            <a:schemeClr val="accent1">
              <a:alpha val="60000"/>
            </a:schemeClr>
          </a:solidFill>
          <a:ln>
            <a:noFill/>
          </a:ln>
        </p:spPr>
        <p:txBody>
          <a:bodyPr lIns="0" tIns="0" rIns="0" bIns="0"/>
          <a:lstStyle/>
          <a:p>
            <a:endParaRPr lang="es-ES">
              <a:solidFill>
                <a:srgbClr val="003245"/>
              </a:solidFill>
            </a:endParaRPr>
          </a:p>
        </p:txBody>
      </p:sp>
      <p:grpSp>
        <p:nvGrpSpPr>
          <p:cNvPr id="15" name="Grupo 14"/>
          <p:cNvGrpSpPr/>
          <p:nvPr userDrawn="1"/>
        </p:nvGrpSpPr>
        <p:grpSpPr>
          <a:xfrm>
            <a:off x="58864" y="6464175"/>
            <a:ext cx="2103461" cy="359735"/>
            <a:chOff x="58864" y="6464175"/>
            <a:chExt cx="2103461" cy="359735"/>
          </a:xfrm>
        </p:grpSpPr>
        <p:grpSp>
          <p:nvGrpSpPr>
            <p:cNvPr id="22" name="Group 4"/>
            <p:cNvGrpSpPr>
              <a:grpSpLocks/>
            </p:cNvGrpSpPr>
            <p:nvPr userDrawn="1"/>
          </p:nvGrpSpPr>
          <p:grpSpPr bwMode="auto">
            <a:xfrm>
              <a:off x="179512" y="6464175"/>
              <a:ext cx="888250" cy="136799"/>
              <a:chOff x="-14" y="12"/>
              <a:chExt cx="605" cy="99"/>
            </a:xfrm>
          </p:grpSpPr>
          <p:sp>
            <p:nvSpPr>
              <p:cNvPr id="24" name="AutoShape 2"/>
              <p:cNvSpPr>
                <a:spLocks/>
              </p:cNvSpPr>
              <p:nvPr/>
            </p:nvSpPr>
            <p:spPr bwMode="auto">
              <a:xfrm>
                <a:off x="-14" y="12"/>
                <a:ext cx="546" cy="96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w 21600"/>
                  <a:gd name="T13" fmla="*/ 0 h 21600"/>
                  <a:gd name="T14" fmla="*/ 0 w 21600"/>
                  <a:gd name="T15" fmla="*/ 0 h 21600"/>
                  <a:gd name="T16" fmla="*/ 0 w 21600"/>
                  <a:gd name="T17" fmla="*/ 0 h 21600"/>
                  <a:gd name="T18" fmla="*/ 0 w 21600"/>
                  <a:gd name="T19" fmla="*/ 0 h 21600"/>
                  <a:gd name="T20" fmla="*/ 0 w 21600"/>
                  <a:gd name="T21" fmla="*/ 0 h 21600"/>
                  <a:gd name="T22" fmla="*/ 0 w 21600"/>
                  <a:gd name="T23" fmla="*/ 0 h 21600"/>
                  <a:gd name="T24" fmla="*/ 0 w 21600"/>
                  <a:gd name="T25" fmla="*/ 0 h 21600"/>
                  <a:gd name="T26" fmla="*/ 0 w 21600"/>
                  <a:gd name="T27" fmla="*/ 0 h 21600"/>
                  <a:gd name="T28" fmla="*/ 0 w 21600"/>
                  <a:gd name="T29" fmla="*/ 0 h 21600"/>
                  <a:gd name="T30" fmla="*/ 0 w 21600"/>
                  <a:gd name="T31" fmla="*/ 0 h 21600"/>
                  <a:gd name="T32" fmla="*/ 0 w 21600"/>
                  <a:gd name="T33" fmla="*/ 0 h 21600"/>
                  <a:gd name="T34" fmla="*/ 0 w 21600"/>
                  <a:gd name="T35" fmla="*/ 0 h 21600"/>
                  <a:gd name="T36" fmla="*/ 0 w 21600"/>
                  <a:gd name="T37" fmla="*/ 0 h 21600"/>
                  <a:gd name="T38" fmla="*/ 0 w 21600"/>
                  <a:gd name="T39" fmla="*/ 0 h 21600"/>
                  <a:gd name="T40" fmla="*/ 0 w 21600"/>
                  <a:gd name="T41" fmla="*/ 0 h 21600"/>
                  <a:gd name="T42" fmla="*/ 0 w 21600"/>
                  <a:gd name="T43" fmla="*/ 0 h 21600"/>
                  <a:gd name="T44" fmla="*/ 0 w 21600"/>
                  <a:gd name="T45" fmla="*/ 0 h 21600"/>
                  <a:gd name="T46" fmla="*/ 0 w 21600"/>
                  <a:gd name="T47" fmla="*/ 0 h 21600"/>
                  <a:gd name="T48" fmla="*/ 0 w 21600"/>
                  <a:gd name="T49" fmla="*/ 0 h 21600"/>
                  <a:gd name="T50" fmla="*/ 0 w 21600"/>
                  <a:gd name="T51" fmla="*/ 0 h 21600"/>
                  <a:gd name="T52" fmla="*/ 0 w 21600"/>
                  <a:gd name="T53" fmla="*/ 0 h 21600"/>
                  <a:gd name="T54" fmla="*/ 0 w 21600"/>
                  <a:gd name="T55" fmla="*/ 0 h 21600"/>
                  <a:gd name="T56" fmla="*/ 0 w 21600"/>
                  <a:gd name="T57" fmla="*/ 0 h 21600"/>
                  <a:gd name="T58" fmla="*/ 0 w 21600"/>
                  <a:gd name="T59" fmla="*/ 0 h 21600"/>
                  <a:gd name="T60" fmla="*/ 0 w 21600"/>
                  <a:gd name="T61" fmla="*/ 0 h 21600"/>
                  <a:gd name="T62" fmla="*/ 0 w 21600"/>
                  <a:gd name="T63" fmla="*/ 0 h 21600"/>
                  <a:gd name="T64" fmla="*/ 0 w 21600"/>
                  <a:gd name="T65" fmla="*/ 0 h 21600"/>
                  <a:gd name="T66" fmla="*/ 0 w 21600"/>
                  <a:gd name="T67" fmla="*/ 0 h 21600"/>
                  <a:gd name="T68" fmla="*/ 0 w 21600"/>
                  <a:gd name="T69" fmla="*/ 0 h 21600"/>
                  <a:gd name="T70" fmla="*/ 0 w 21600"/>
                  <a:gd name="T71" fmla="*/ 0 h 21600"/>
                  <a:gd name="T72" fmla="*/ 0 w 21600"/>
                  <a:gd name="T73" fmla="*/ 0 h 21600"/>
                  <a:gd name="T74" fmla="*/ 0 w 21600"/>
                  <a:gd name="T75" fmla="*/ 0 h 21600"/>
                  <a:gd name="T76" fmla="*/ 0 w 21600"/>
                  <a:gd name="T77" fmla="*/ 0 h 21600"/>
                  <a:gd name="T78" fmla="*/ 0 w 21600"/>
                  <a:gd name="T79" fmla="*/ 0 h 21600"/>
                  <a:gd name="T80" fmla="*/ 0 w 21600"/>
                  <a:gd name="T81" fmla="*/ 0 h 21600"/>
                  <a:gd name="T82" fmla="*/ 0 w 21600"/>
                  <a:gd name="T83" fmla="*/ 0 h 21600"/>
                  <a:gd name="T84" fmla="*/ 0 w 21600"/>
                  <a:gd name="T85" fmla="*/ 0 h 21600"/>
                  <a:gd name="T86" fmla="*/ 0 w 21600"/>
                  <a:gd name="T87" fmla="*/ 0 h 21600"/>
                  <a:gd name="T88" fmla="*/ 0 w 21600"/>
                  <a:gd name="T89" fmla="*/ 0 h 21600"/>
                  <a:gd name="T90" fmla="*/ 0 w 21600"/>
                  <a:gd name="T91" fmla="*/ 0 h 21600"/>
                  <a:gd name="T92" fmla="*/ 0 w 21600"/>
                  <a:gd name="T93" fmla="*/ 0 h 21600"/>
                  <a:gd name="T94" fmla="*/ 0 w 21600"/>
                  <a:gd name="T95" fmla="*/ 0 h 21600"/>
                  <a:gd name="T96" fmla="*/ 0 w 21600"/>
                  <a:gd name="T97" fmla="*/ 0 h 21600"/>
                  <a:gd name="T98" fmla="*/ 0 w 21600"/>
                  <a:gd name="T99" fmla="*/ 0 h 21600"/>
                  <a:gd name="T100" fmla="*/ 0 w 21600"/>
                  <a:gd name="T101" fmla="*/ 0 h 21600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21600" h="21600">
                    <a:moveTo>
                      <a:pt x="2236" y="9904"/>
                    </a:moveTo>
                    <a:cubicBezTo>
                      <a:pt x="2490" y="10359"/>
                      <a:pt x="2636" y="10997"/>
                      <a:pt x="2734" y="11787"/>
                    </a:cubicBezTo>
                    <a:cubicBezTo>
                      <a:pt x="2833" y="12577"/>
                      <a:pt x="2864" y="13428"/>
                      <a:pt x="2864" y="14460"/>
                    </a:cubicBezTo>
                    <a:cubicBezTo>
                      <a:pt x="2864" y="16952"/>
                      <a:pt x="2688" y="18501"/>
                      <a:pt x="2444" y="19473"/>
                    </a:cubicBezTo>
                    <a:cubicBezTo>
                      <a:pt x="2174" y="20567"/>
                      <a:pt x="1764" y="21175"/>
                      <a:pt x="1105" y="21175"/>
                    </a:cubicBezTo>
                    <a:lnTo>
                      <a:pt x="0" y="21175"/>
                    </a:lnTo>
                    <a:lnTo>
                      <a:pt x="623" y="395"/>
                    </a:lnTo>
                    <a:lnTo>
                      <a:pt x="1717" y="395"/>
                    </a:lnTo>
                    <a:cubicBezTo>
                      <a:pt x="2226" y="395"/>
                      <a:pt x="2480" y="942"/>
                      <a:pt x="2636" y="1671"/>
                    </a:cubicBezTo>
                    <a:cubicBezTo>
                      <a:pt x="2823" y="2552"/>
                      <a:pt x="2885" y="3797"/>
                      <a:pt x="2885" y="4982"/>
                    </a:cubicBezTo>
                    <a:cubicBezTo>
                      <a:pt x="2885" y="7017"/>
                      <a:pt x="2703" y="8871"/>
                      <a:pt x="2236" y="9904"/>
                    </a:cubicBezTo>
                    <a:close/>
                    <a:moveTo>
                      <a:pt x="908" y="17742"/>
                    </a:moveTo>
                    <a:lnTo>
                      <a:pt x="1188" y="17742"/>
                    </a:lnTo>
                    <a:cubicBezTo>
                      <a:pt x="1484" y="17742"/>
                      <a:pt x="1645" y="17529"/>
                      <a:pt x="1775" y="17134"/>
                    </a:cubicBezTo>
                    <a:cubicBezTo>
                      <a:pt x="1920" y="16679"/>
                      <a:pt x="2039" y="15919"/>
                      <a:pt x="2039" y="14643"/>
                    </a:cubicBezTo>
                    <a:cubicBezTo>
                      <a:pt x="2039" y="13792"/>
                      <a:pt x="1987" y="13155"/>
                      <a:pt x="1899" y="12760"/>
                    </a:cubicBezTo>
                    <a:cubicBezTo>
                      <a:pt x="1800" y="12304"/>
                      <a:pt x="1650" y="12091"/>
                      <a:pt x="1437" y="12091"/>
                    </a:cubicBezTo>
                    <a:lnTo>
                      <a:pt x="1079" y="12091"/>
                    </a:lnTo>
                    <a:lnTo>
                      <a:pt x="908" y="17742"/>
                    </a:lnTo>
                    <a:close/>
                    <a:moveTo>
                      <a:pt x="1183" y="8658"/>
                    </a:moveTo>
                    <a:lnTo>
                      <a:pt x="1365" y="8658"/>
                    </a:lnTo>
                    <a:cubicBezTo>
                      <a:pt x="1645" y="8658"/>
                      <a:pt x="1800" y="8324"/>
                      <a:pt x="1909" y="7838"/>
                    </a:cubicBezTo>
                    <a:cubicBezTo>
                      <a:pt x="2018" y="7352"/>
                      <a:pt x="2081" y="6623"/>
                      <a:pt x="2081" y="5742"/>
                    </a:cubicBezTo>
                    <a:cubicBezTo>
                      <a:pt x="2081" y="5134"/>
                      <a:pt x="2055" y="4739"/>
                      <a:pt x="1998" y="4405"/>
                    </a:cubicBezTo>
                    <a:cubicBezTo>
                      <a:pt x="1935" y="4071"/>
                      <a:pt x="1831" y="3828"/>
                      <a:pt x="1603" y="3828"/>
                    </a:cubicBezTo>
                    <a:lnTo>
                      <a:pt x="1328" y="3828"/>
                    </a:lnTo>
                    <a:lnTo>
                      <a:pt x="1183" y="8658"/>
                    </a:lnTo>
                    <a:close/>
                    <a:moveTo>
                      <a:pt x="4140" y="17742"/>
                    </a:moveTo>
                    <a:lnTo>
                      <a:pt x="5749" y="17742"/>
                    </a:lnTo>
                    <a:lnTo>
                      <a:pt x="5650" y="21175"/>
                    </a:lnTo>
                    <a:lnTo>
                      <a:pt x="3227" y="21175"/>
                    </a:lnTo>
                    <a:lnTo>
                      <a:pt x="3850" y="395"/>
                    </a:lnTo>
                    <a:lnTo>
                      <a:pt x="6247" y="395"/>
                    </a:lnTo>
                    <a:lnTo>
                      <a:pt x="6081" y="3828"/>
                    </a:lnTo>
                    <a:lnTo>
                      <a:pt x="4556" y="3828"/>
                    </a:lnTo>
                    <a:lnTo>
                      <a:pt x="4405" y="8871"/>
                    </a:lnTo>
                    <a:lnTo>
                      <a:pt x="5624" y="8871"/>
                    </a:lnTo>
                    <a:lnTo>
                      <a:pt x="5515" y="12425"/>
                    </a:lnTo>
                    <a:lnTo>
                      <a:pt x="4296" y="12425"/>
                    </a:lnTo>
                    <a:lnTo>
                      <a:pt x="4140" y="17742"/>
                    </a:lnTo>
                    <a:close/>
                    <a:moveTo>
                      <a:pt x="8540" y="395"/>
                    </a:moveTo>
                    <a:lnTo>
                      <a:pt x="9298" y="11878"/>
                    </a:lnTo>
                    <a:lnTo>
                      <a:pt x="10792" y="395"/>
                    </a:lnTo>
                    <a:lnTo>
                      <a:pt x="11456" y="395"/>
                    </a:lnTo>
                    <a:lnTo>
                      <a:pt x="10834" y="21175"/>
                    </a:lnTo>
                    <a:lnTo>
                      <a:pt x="10092" y="21175"/>
                    </a:lnTo>
                    <a:lnTo>
                      <a:pt x="10450" y="9053"/>
                    </a:lnTo>
                    <a:lnTo>
                      <a:pt x="9495" y="16436"/>
                    </a:lnTo>
                    <a:lnTo>
                      <a:pt x="8872" y="16436"/>
                    </a:lnTo>
                    <a:lnTo>
                      <a:pt x="8354" y="8658"/>
                    </a:lnTo>
                    <a:lnTo>
                      <a:pt x="7975" y="21175"/>
                    </a:lnTo>
                    <a:lnTo>
                      <a:pt x="7295" y="21175"/>
                    </a:lnTo>
                    <a:lnTo>
                      <a:pt x="7918" y="395"/>
                    </a:lnTo>
                    <a:lnTo>
                      <a:pt x="8540" y="395"/>
                    </a:lnTo>
                    <a:close/>
                    <a:moveTo>
                      <a:pt x="11685" y="13640"/>
                    </a:moveTo>
                    <a:cubicBezTo>
                      <a:pt x="11685" y="10451"/>
                      <a:pt x="11820" y="7321"/>
                      <a:pt x="12058" y="4921"/>
                    </a:cubicBezTo>
                    <a:cubicBezTo>
                      <a:pt x="12380" y="1701"/>
                      <a:pt x="12893" y="0"/>
                      <a:pt x="13610" y="0"/>
                    </a:cubicBezTo>
                    <a:cubicBezTo>
                      <a:pt x="14429" y="0"/>
                      <a:pt x="14990" y="2521"/>
                      <a:pt x="14990" y="7959"/>
                    </a:cubicBezTo>
                    <a:cubicBezTo>
                      <a:pt x="14990" y="11149"/>
                      <a:pt x="14855" y="14278"/>
                      <a:pt x="14616" y="16678"/>
                    </a:cubicBezTo>
                    <a:cubicBezTo>
                      <a:pt x="14295" y="19899"/>
                      <a:pt x="13781" y="21600"/>
                      <a:pt x="13065" y="21600"/>
                    </a:cubicBezTo>
                    <a:cubicBezTo>
                      <a:pt x="12245" y="21600"/>
                      <a:pt x="11685" y="19078"/>
                      <a:pt x="11685" y="13640"/>
                    </a:cubicBezTo>
                    <a:close/>
                    <a:moveTo>
                      <a:pt x="12790" y="6775"/>
                    </a:moveTo>
                    <a:cubicBezTo>
                      <a:pt x="12619" y="8688"/>
                      <a:pt x="12520" y="11180"/>
                      <a:pt x="12520" y="13640"/>
                    </a:cubicBezTo>
                    <a:cubicBezTo>
                      <a:pt x="12520" y="16770"/>
                      <a:pt x="12764" y="17894"/>
                      <a:pt x="13127" y="17894"/>
                    </a:cubicBezTo>
                    <a:cubicBezTo>
                      <a:pt x="13469" y="17894"/>
                      <a:pt x="13713" y="16709"/>
                      <a:pt x="13885" y="14825"/>
                    </a:cubicBezTo>
                    <a:cubicBezTo>
                      <a:pt x="14056" y="12912"/>
                      <a:pt x="14154" y="10420"/>
                      <a:pt x="14154" y="7960"/>
                    </a:cubicBezTo>
                    <a:cubicBezTo>
                      <a:pt x="14154" y="4830"/>
                      <a:pt x="13911" y="3706"/>
                      <a:pt x="13547" y="3706"/>
                    </a:cubicBezTo>
                    <a:cubicBezTo>
                      <a:pt x="13205" y="3706"/>
                      <a:pt x="12961" y="4891"/>
                      <a:pt x="12790" y="6775"/>
                    </a:cubicBezTo>
                    <a:close/>
                    <a:moveTo>
                      <a:pt x="18098" y="10177"/>
                    </a:moveTo>
                    <a:cubicBezTo>
                      <a:pt x="17963" y="11271"/>
                      <a:pt x="17745" y="12182"/>
                      <a:pt x="17459" y="12851"/>
                    </a:cubicBezTo>
                    <a:lnTo>
                      <a:pt x="18009" y="21175"/>
                    </a:lnTo>
                    <a:lnTo>
                      <a:pt x="17143" y="21175"/>
                    </a:lnTo>
                    <a:lnTo>
                      <a:pt x="16728" y="13641"/>
                    </a:lnTo>
                    <a:lnTo>
                      <a:pt x="16251" y="13641"/>
                    </a:lnTo>
                    <a:lnTo>
                      <a:pt x="16027" y="21175"/>
                    </a:lnTo>
                    <a:lnTo>
                      <a:pt x="15218" y="21175"/>
                    </a:lnTo>
                    <a:lnTo>
                      <a:pt x="15841" y="395"/>
                    </a:lnTo>
                    <a:lnTo>
                      <a:pt x="17050" y="395"/>
                    </a:lnTo>
                    <a:cubicBezTo>
                      <a:pt x="17491" y="395"/>
                      <a:pt x="17797" y="942"/>
                      <a:pt x="17989" y="1914"/>
                    </a:cubicBezTo>
                    <a:cubicBezTo>
                      <a:pt x="18202" y="2977"/>
                      <a:pt x="18290" y="4526"/>
                      <a:pt x="18290" y="6319"/>
                    </a:cubicBezTo>
                    <a:cubicBezTo>
                      <a:pt x="18290" y="7807"/>
                      <a:pt x="18227" y="9114"/>
                      <a:pt x="18098" y="10177"/>
                    </a:cubicBezTo>
                    <a:close/>
                    <a:moveTo>
                      <a:pt x="16354" y="10208"/>
                    </a:moveTo>
                    <a:lnTo>
                      <a:pt x="16666" y="10208"/>
                    </a:lnTo>
                    <a:cubicBezTo>
                      <a:pt x="16915" y="10208"/>
                      <a:pt x="17138" y="9934"/>
                      <a:pt x="17288" y="9114"/>
                    </a:cubicBezTo>
                    <a:cubicBezTo>
                      <a:pt x="17408" y="8476"/>
                      <a:pt x="17486" y="7443"/>
                      <a:pt x="17486" y="6349"/>
                    </a:cubicBezTo>
                    <a:cubicBezTo>
                      <a:pt x="17486" y="5651"/>
                      <a:pt x="17454" y="5012"/>
                      <a:pt x="17382" y="4587"/>
                    </a:cubicBezTo>
                    <a:cubicBezTo>
                      <a:pt x="17299" y="4101"/>
                      <a:pt x="17169" y="3828"/>
                      <a:pt x="16951" y="3828"/>
                    </a:cubicBezTo>
                    <a:lnTo>
                      <a:pt x="16546" y="3828"/>
                    </a:lnTo>
                    <a:lnTo>
                      <a:pt x="16354" y="10208"/>
                    </a:lnTo>
                    <a:close/>
                    <a:moveTo>
                      <a:pt x="19493" y="17742"/>
                    </a:moveTo>
                    <a:lnTo>
                      <a:pt x="21102" y="17742"/>
                    </a:lnTo>
                    <a:lnTo>
                      <a:pt x="21003" y="21175"/>
                    </a:lnTo>
                    <a:lnTo>
                      <a:pt x="18580" y="21175"/>
                    </a:lnTo>
                    <a:lnTo>
                      <a:pt x="19203" y="395"/>
                    </a:lnTo>
                    <a:lnTo>
                      <a:pt x="21600" y="395"/>
                    </a:lnTo>
                    <a:lnTo>
                      <a:pt x="21434" y="3828"/>
                    </a:lnTo>
                    <a:lnTo>
                      <a:pt x="19909" y="3828"/>
                    </a:lnTo>
                    <a:lnTo>
                      <a:pt x="19758" y="8871"/>
                    </a:lnTo>
                    <a:lnTo>
                      <a:pt x="20977" y="8871"/>
                    </a:lnTo>
                    <a:lnTo>
                      <a:pt x="20868" y="12425"/>
                    </a:lnTo>
                    <a:lnTo>
                      <a:pt x="19649" y="12425"/>
                    </a:lnTo>
                    <a:lnTo>
                      <a:pt x="19493" y="17742"/>
                    </a:lnTo>
                    <a:close/>
                    <a:moveTo>
                      <a:pt x="19493" y="17742"/>
                    </a:move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 cap="flat">
                    <a:solidFill>
                      <a:srgbClr val="000000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en-GB"/>
              </a:p>
            </p:txBody>
          </p:sp>
          <p:sp>
            <p:nvSpPr>
              <p:cNvPr id="25" name="AutoShape 3"/>
              <p:cNvSpPr>
                <a:spLocks/>
              </p:cNvSpPr>
              <p:nvPr/>
            </p:nvSpPr>
            <p:spPr bwMode="auto">
              <a:xfrm>
                <a:off x="533" y="98"/>
                <a:ext cx="58" cy="13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1600" h="21600">
                    <a:moveTo>
                      <a:pt x="0" y="21600"/>
                    </a:moveTo>
                    <a:lnTo>
                      <a:pt x="870" y="0"/>
                    </a:lnTo>
                    <a:lnTo>
                      <a:pt x="21600" y="0"/>
                    </a:lnTo>
                    <a:lnTo>
                      <a:pt x="20730" y="21600"/>
                    </a:lnTo>
                    <a:lnTo>
                      <a:pt x="0" y="21600"/>
                    </a:lnTo>
                    <a:close/>
                    <a:moveTo>
                      <a:pt x="0" y="21600"/>
                    </a:moveTo>
                  </a:path>
                </a:pathLst>
              </a:custGeom>
              <a:solidFill>
                <a:srgbClr val="7DF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 cap="flat">
                    <a:solidFill>
                      <a:srgbClr val="000000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en-GB"/>
              </a:p>
            </p:txBody>
          </p:sp>
        </p:grpSp>
        <p:sp>
          <p:nvSpPr>
            <p:cNvPr id="23" name="22 CuadroTexto"/>
            <p:cNvSpPr txBox="1"/>
            <p:nvPr userDrawn="1"/>
          </p:nvSpPr>
          <p:spPr>
            <a:xfrm>
              <a:off x="58864" y="6577689"/>
              <a:ext cx="2103461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b="0" i="1" noProof="0" dirty="0" smtClean="0">
                  <a:solidFill>
                    <a:schemeClr val="accent5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SCOVER</a:t>
              </a:r>
              <a:r>
                <a:rPr lang="en-US" sz="1000" b="0" i="1" dirty="0" smtClean="0">
                  <a:solidFill>
                    <a:schemeClr val="accent5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DISRUPT, DELIVER</a:t>
              </a:r>
              <a:endParaRPr lang="en-US" sz="1000" b="0" i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833980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17B4C6"/>
          </a:solidFill>
          <a:latin typeface="+mj-lt"/>
          <a:ea typeface="+mj-ea"/>
          <a:cs typeface="+mj-cs"/>
          <a:sym typeface="Gill Sans" pitchFamily="122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122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122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122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122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889000" indent="-571500" algn="l" rtl="0" eaLnBrk="0" fontAlgn="base" hangingPunct="0">
        <a:spcBef>
          <a:spcPts val="3400"/>
        </a:spcBef>
        <a:spcAft>
          <a:spcPct val="0"/>
        </a:spcAft>
        <a:buSzPct val="171000"/>
        <a:buFont typeface="Gill Sans" pitchFamily="122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1pPr>
      <a:lvl2pPr marL="1333500" indent="-571500" algn="l" rtl="0" eaLnBrk="0" fontAlgn="base" hangingPunct="0">
        <a:spcBef>
          <a:spcPts val="3400"/>
        </a:spcBef>
        <a:spcAft>
          <a:spcPct val="0"/>
        </a:spcAft>
        <a:buSzPct val="171000"/>
        <a:buFont typeface="Gill Sans" pitchFamily="122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2pPr>
      <a:lvl3pPr marL="1778000" indent="-571500" algn="l" rtl="0" eaLnBrk="0" fontAlgn="base" hangingPunct="0">
        <a:spcBef>
          <a:spcPts val="3400"/>
        </a:spcBef>
        <a:spcAft>
          <a:spcPct val="0"/>
        </a:spcAft>
        <a:buSzPct val="171000"/>
        <a:buFont typeface="Gill Sans" pitchFamily="122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3pPr>
      <a:lvl4pPr marL="2222500" indent="-571500" algn="l" rtl="0" eaLnBrk="0" fontAlgn="base" hangingPunct="0">
        <a:spcBef>
          <a:spcPts val="3400"/>
        </a:spcBef>
        <a:spcAft>
          <a:spcPct val="0"/>
        </a:spcAft>
        <a:buSzPct val="171000"/>
        <a:buFont typeface="Gill Sans" pitchFamily="122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4pPr>
      <a:lvl5pPr marL="2667000" indent="-571500" algn="l" rtl="0" eaLnBrk="0" fontAlgn="base" hangingPunct="0">
        <a:spcBef>
          <a:spcPts val="3400"/>
        </a:spcBef>
        <a:spcAft>
          <a:spcPct val="0"/>
        </a:spcAft>
        <a:buSzPct val="171000"/>
        <a:buFont typeface="Gill Sans" pitchFamily="122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5pPr>
      <a:lvl6pPr marL="3124200" indent="-571500" algn="l" rtl="0" fontAlgn="base">
        <a:spcBef>
          <a:spcPts val="3400"/>
        </a:spcBef>
        <a:spcAft>
          <a:spcPct val="0"/>
        </a:spcAft>
        <a:buSzPct val="171000"/>
        <a:buFont typeface="Gill Sans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3581400" indent="-571500" algn="l" rtl="0" fontAlgn="base">
        <a:spcBef>
          <a:spcPts val="3400"/>
        </a:spcBef>
        <a:spcAft>
          <a:spcPct val="0"/>
        </a:spcAft>
        <a:buSzPct val="171000"/>
        <a:buFont typeface="Gill Sans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4038600" indent="-571500" algn="l" rtl="0" fontAlgn="base">
        <a:spcBef>
          <a:spcPts val="3400"/>
        </a:spcBef>
        <a:spcAft>
          <a:spcPct val="0"/>
        </a:spcAft>
        <a:buSzPct val="171000"/>
        <a:buFont typeface="Gill Sans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4495800" indent="-571500" algn="l" rtl="0" fontAlgn="base">
        <a:spcBef>
          <a:spcPts val="3400"/>
        </a:spcBef>
        <a:spcAft>
          <a:spcPct val="0"/>
        </a:spcAft>
        <a:buSzPct val="171000"/>
        <a:buFont typeface="Gill Sans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99" name="Group 4"/>
          <p:cNvGrpSpPr>
            <a:grpSpLocks/>
          </p:cNvGrpSpPr>
          <p:nvPr userDrawn="1"/>
        </p:nvGrpSpPr>
        <p:grpSpPr bwMode="auto">
          <a:xfrm>
            <a:off x="7630258" y="6437314"/>
            <a:ext cx="1129811" cy="231775"/>
            <a:chOff x="0" y="0"/>
            <a:chExt cx="591" cy="111"/>
          </a:xfrm>
        </p:grpSpPr>
        <p:sp>
          <p:nvSpPr>
            <p:cNvPr id="2056" name="AutoShape 2"/>
            <p:cNvSpPr>
              <a:spLocks/>
            </p:cNvSpPr>
            <p:nvPr/>
          </p:nvSpPr>
          <p:spPr bwMode="auto">
            <a:xfrm>
              <a:off x="0" y="0"/>
              <a:ext cx="546" cy="9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w 21600"/>
                <a:gd name="T17" fmla="*/ 0 h 21600"/>
                <a:gd name="T18" fmla="*/ 0 w 21600"/>
                <a:gd name="T19" fmla="*/ 0 h 21600"/>
                <a:gd name="T20" fmla="*/ 0 w 21600"/>
                <a:gd name="T21" fmla="*/ 0 h 21600"/>
                <a:gd name="T22" fmla="*/ 0 w 21600"/>
                <a:gd name="T23" fmla="*/ 0 h 21600"/>
                <a:gd name="T24" fmla="*/ 0 w 21600"/>
                <a:gd name="T25" fmla="*/ 0 h 21600"/>
                <a:gd name="T26" fmla="*/ 0 w 21600"/>
                <a:gd name="T27" fmla="*/ 0 h 21600"/>
                <a:gd name="T28" fmla="*/ 0 w 21600"/>
                <a:gd name="T29" fmla="*/ 0 h 21600"/>
                <a:gd name="T30" fmla="*/ 0 w 21600"/>
                <a:gd name="T31" fmla="*/ 0 h 21600"/>
                <a:gd name="T32" fmla="*/ 0 w 21600"/>
                <a:gd name="T33" fmla="*/ 0 h 21600"/>
                <a:gd name="T34" fmla="*/ 0 w 21600"/>
                <a:gd name="T35" fmla="*/ 0 h 21600"/>
                <a:gd name="T36" fmla="*/ 0 w 21600"/>
                <a:gd name="T37" fmla="*/ 0 h 21600"/>
                <a:gd name="T38" fmla="*/ 0 w 21600"/>
                <a:gd name="T39" fmla="*/ 0 h 21600"/>
                <a:gd name="T40" fmla="*/ 0 w 21600"/>
                <a:gd name="T41" fmla="*/ 0 h 21600"/>
                <a:gd name="T42" fmla="*/ 0 w 21600"/>
                <a:gd name="T43" fmla="*/ 0 h 21600"/>
                <a:gd name="T44" fmla="*/ 0 w 21600"/>
                <a:gd name="T45" fmla="*/ 0 h 21600"/>
                <a:gd name="T46" fmla="*/ 0 w 21600"/>
                <a:gd name="T47" fmla="*/ 0 h 21600"/>
                <a:gd name="T48" fmla="*/ 0 w 21600"/>
                <a:gd name="T49" fmla="*/ 0 h 21600"/>
                <a:gd name="T50" fmla="*/ 0 w 21600"/>
                <a:gd name="T51" fmla="*/ 0 h 21600"/>
                <a:gd name="T52" fmla="*/ 0 w 21600"/>
                <a:gd name="T53" fmla="*/ 0 h 21600"/>
                <a:gd name="T54" fmla="*/ 0 w 21600"/>
                <a:gd name="T55" fmla="*/ 0 h 21600"/>
                <a:gd name="T56" fmla="*/ 0 w 21600"/>
                <a:gd name="T57" fmla="*/ 0 h 21600"/>
                <a:gd name="T58" fmla="*/ 0 w 21600"/>
                <a:gd name="T59" fmla="*/ 0 h 21600"/>
                <a:gd name="T60" fmla="*/ 0 w 21600"/>
                <a:gd name="T61" fmla="*/ 0 h 21600"/>
                <a:gd name="T62" fmla="*/ 0 w 21600"/>
                <a:gd name="T63" fmla="*/ 0 h 21600"/>
                <a:gd name="T64" fmla="*/ 0 w 21600"/>
                <a:gd name="T65" fmla="*/ 0 h 21600"/>
                <a:gd name="T66" fmla="*/ 0 w 21600"/>
                <a:gd name="T67" fmla="*/ 0 h 21600"/>
                <a:gd name="T68" fmla="*/ 0 w 21600"/>
                <a:gd name="T69" fmla="*/ 0 h 21600"/>
                <a:gd name="T70" fmla="*/ 0 w 21600"/>
                <a:gd name="T71" fmla="*/ 0 h 21600"/>
                <a:gd name="T72" fmla="*/ 0 w 21600"/>
                <a:gd name="T73" fmla="*/ 0 h 21600"/>
                <a:gd name="T74" fmla="*/ 0 w 21600"/>
                <a:gd name="T75" fmla="*/ 0 h 21600"/>
                <a:gd name="T76" fmla="*/ 0 w 21600"/>
                <a:gd name="T77" fmla="*/ 0 h 21600"/>
                <a:gd name="T78" fmla="*/ 0 w 21600"/>
                <a:gd name="T79" fmla="*/ 0 h 21600"/>
                <a:gd name="T80" fmla="*/ 0 w 21600"/>
                <a:gd name="T81" fmla="*/ 0 h 21600"/>
                <a:gd name="T82" fmla="*/ 0 w 21600"/>
                <a:gd name="T83" fmla="*/ 0 h 21600"/>
                <a:gd name="T84" fmla="*/ 0 w 21600"/>
                <a:gd name="T85" fmla="*/ 0 h 21600"/>
                <a:gd name="T86" fmla="*/ 0 w 21600"/>
                <a:gd name="T87" fmla="*/ 0 h 21600"/>
                <a:gd name="T88" fmla="*/ 0 w 21600"/>
                <a:gd name="T89" fmla="*/ 0 h 21600"/>
                <a:gd name="T90" fmla="*/ 0 w 21600"/>
                <a:gd name="T91" fmla="*/ 0 h 21600"/>
                <a:gd name="T92" fmla="*/ 0 w 21600"/>
                <a:gd name="T93" fmla="*/ 0 h 21600"/>
                <a:gd name="T94" fmla="*/ 0 w 21600"/>
                <a:gd name="T95" fmla="*/ 0 h 21600"/>
                <a:gd name="T96" fmla="*/ 0 w 21600"/>
                <a:gd name="T97" fmla="*/ 0 h 21600"/>
                <a:gd name="T98" fmla="*/ 0 w 21600"/>
                <a:gd name="T99" fmla="*/ 0 h 21600"/>
                <a:gd name="T100" fmla="*/ 0 w 21600"/>
                <a:gd name="T101" fmla="*/ 0 h 2160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1600"/>
                <a:gd name="T154" fmla="*/ 0 h 21600"/>
                <a:gd name="T155" fmla="*/ 21600 w 21600"/>
                <a:gd name="T156" fmla="*/ 21600 h 2160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1600" h="21600">
                  <a:moveTo>
                    <a:pt x="2236" y="9904"/>
                  </a:moveTo>
                  <a:cubicBezTo>
                    <a:pt x="2490" y="10359"/>
                    <a:pt x="2636" y="10997"/>
                    <a:pt x="2734" y="11787"/>
                  </a:cubicBezTo>
                  <a:cubicBezTo>
                    <a:pt x="2833" y="12577"/>
                    <a:pt x="2864" y="13428"/>
                    <a:pt x="2864" y="14460"/>
                  </a:cubicBezTo>
                  <a:cubicBezTo>
                    <a:pt x="2864" y="16952"/>
                    <a:pt x="2688" y="18501"/>
                    <a:pt x="2444" y="19473"/>
                  </a:cubicBezTo>
                  <a:cubicBezTo>
                    <a:pt x="2174" y="20567"/>
                    <a:pt x="1764" y="21175"/>
                    <a:pt x="1105" y="21175"/>
                  </a:cubicBezTo>
                  <a:lnTo>
                    <a:pt x="0" y="21175"/>
                  </a:lnTo>
                  <a:lnTo>
                    <a:pt x="623" y="395"/>
                  </a:lnTo>
                  <a:lnTo>
                    <a:pt x="1717" y="395"/>
                  </a:lnTo>
                  <a:cubicBezTo>
                    <a:pt x="2226" y="395"/>
                    <a:pt x="2480" y="942"/>
                    <a:pt x="2636" y="1671"/>
                  </a:cubicBezTo>
                  <a:cubicBezTo>
                    <a:pt x="2823" y="2552"/>
                    <a:pt x="2885" y="3797"/>
                    <a:pt x="2885" y="4982"/>
                  </a:cubicBezTo>
                  <a:cubicBezTo>
                    <a:pt x="2885" y="7017"/>
                    <a:pt x="2703" y="8871"/>
                    <a:pt x="2236" y="9904"/>
                  </a:cubicBezTo>
                  <a:close/>
                  <a:moveTo>
                    <a:pt x="908" y="17742"/>
                  </a:moveTo>
                  <a:lnTo>
                    <a:pt x="1188" y="17742"/>
                  </a:lnTo>
                  <a:cubicBezTo>
                    <a:pt x="1484" y="17742"/>
                    <a:pt x="1645" y="17529"/>
                    <a:pt x="1775" y="17134"/>
                  </a:cubicBezTo>
                  <a:cubicBezTo>
                    <a:pt x="1920" y="16679"/>
                    <a:pt x="2039" y="15919"/>
                    <a:pt x="2039" y="14643"/>
                  </a:cubicBezTo>
                  <a:cubicBezTo>
                    <a:pt x="2039" y="13792"/>
                    <a:pt x="1987" y="13155"/>
                    <a:pt x="1899" y="12760"/>
                  </a:cubicBezTo>
                  <a:cubicBezTo>
                    <a:pt x="1800" y="12304"/>
                    <a:pt x="1650" y="12091"/>
                    <a:pt x="1437" y="12091"/>
                  </a:cubicBezTo>
                  <a:lnTo>
                    <a:pt x="1079" y="12091"/>
                  </a:lnTo>
                  <a:lnTo>
                    <a:pt x="908" y="17742"/>
                  </a:lnTo>
                  <a:close/>
                  <a:moveTo>
                    <a:pt x="1183" y="8658"/>
                  </a:moveTo>
                  <a:lnTo>
                    <a:pt x="1365" y="8658"/>
                  </a:lnTo>
                  <a:cubicBezTo>
                    <a:pt x="1645" y="8658"/>
                    <a:pt x="1800" y="8324"/>
                    <a:pt x="1909" y="7838"/>
                  </a:cubicBezTo>
                  <a:cubicBezTo>
                    <a:pt x="2018" y="7352"/>
                    <a:pt x="2081" y="6623"/>
                    <a:pt x="2081" y="5742"/>
                  </a:cubicBezTo>
                  <a:cubicBezTo>
                    <a:pt x="2081" y="5134"/>
                    <a:pt x="2055" y="4739"/>
                    <a:pt x="1998" y="4405"/>
                  </a:cubicBezTo>
                  <a:cubicBezTo>
                    <a:pt x="1935" y="4071"/>
                    <a:pt x="1831" y="3828"/>
                    <a:pt x="1603" y="3828"/>
                  </a:cubicBezTo>
                  <a:lnTo>
                    <a:pt x="1328" y="3828"/>
                  </a:lnTo>
                  <a:lnTo>
                    <a:pt x="1183" y="8658"/>
                  </a:lnTo>
                  <a:close/>
                  <a:moveTo>
                    <a:pt x="4140" y="17742"/>
                  </a:moveTo>
                  <a:lnTo>
                    <a:pt x="5749" y="17742"/>
                  </a:lnTo>
                  <a:lnTo>
                    <a:pt x="5650" y="21175"/>
                  </a:lnTo>
                  <a:lnTo>
                    <a:pt x="3227" y="21175"/>
                  </a:lnTo>
                  <a:lnTo>
                    <a:pt x="3850" y="395"/>
                  </a:lnTo>
                  <a:lnTo>
                    <a:pt x="6247" y="395"/>
                  </a:lnTo>
                  <a:lnTo>
                    <a:pt x="6081" y="3828"/>
                  </a:lnTo>
                  <a:lnTo>
                    <a:pt x="4556" y="3828"/>
                  </a:lnTo>
                  <a:lnTo>
                    <a:pt x="4405" y="8871"/>
                  </a:lnTo>
                  <a:lnTo>
                    <a:pt x="5624" y="8871"/>
                  </a:lnTo>
                  <a:lnTo>
                    <a:pt x="5515" y="12425"/>
                  </a:lnTo>
                  <a:lnTo>
                    <a:pt x="4296" y="12425"/>
                  </a:lnTo>
                  <a:lnTo>
                    <a:pt x="4140" y="17742"/>
                  </a:lnTo>
                  <a:close/>
                  <a:moveTo>
                    <a:pt x="8540" y="395"/>
                  </a:moveTo>
                  <a:lnTo>
                    <a:pt x="9298" y="11878"/>
                  </a:lnTo>
                  <a:lnTo>
                    <a:pt x="10792" y="395"/>
                  </a:lnTo>
                  <a:lnTo>
                    <a:pt x="11456" y="395"/>
                  </a:lnTo>
                  <a:lnTo>
                    <a:pt x="10834" y="21175"/>
                  </a:lnTo>
                  <a:lnTo>
                    <a:pt x="10092" y="21175"/>
                  </a:lnTo>
                  <a:lnTo>
                    <a:pt x="10450" y="9053"/>
                  </a:lnTo>
                  <a:lnTo>
                    <a:pt x="9495" y="16436"/>
                  </a:lnTo>
                  <a:lnTo>
                    <a:pt x="8872" y="16436"/>
                  </a:lnTo>
                  <a:lnTo>
                    <a:pt x="8354" y="8658"/>
                  </a:lnTo>
                  <a:lnTo>
                    <a:pt x="7975" y="21175"/>
                  </a:lnTo>
                  <a:lnTo>
                    <a:pt x="7295" y="21175"/>
                  </a:lnTo>
                  <a:lnTo>
                    <a:pt x="7918" y="395"/>
                  </a:lnTo>
                  <a:lnTo>
                    <a:pt x="8540" y="395"/>
                  </a:lnTo>
                  <a:close/>
                  <a:moveTo>
                    <a:pt x="11685" y="13640"/>
                  </a:moveTo>
                  <a:cubicBezTo>
                    <a:pt x="11685" y="10451"/>
                    <a:pt x="11820" y="7321"/>
                    <a:pt x="12058" y="4921"/>
                  </a:cubicBezTo>
                  <a:cubicBezTo>
                    <a:pt x="12380" y="1701"/>
                    <a:pt x="12893" y="0"/>
                    <a:pt x="13610" y="0"/>
                  </a:cubicBezTo>
                  <a:cubicBezTo>
                    <a:pt x="14429" y="0"/>
                    <a:pt x="14990" y="2521"/>
                    <a:pt x="14990" y="7959"/>
                  </a:cubicBezTo>
                  <a:cubicBezTo>
                    <a:pt x="14990" y="11149"/>
                    <a:pt x="14855" y="14278"/>
                    <a:pt x="14616" y="16678"/>
                  </a:cubicBezTo>
                  <a:cubicBezTo>
                    <a:pt x="14295" y="19899"/>
                    <a:pt x="13781" y="21600"/>
                    <a:pt x="13065" y="21600"/>
                  </a:cubicBezTo>
                  <a:cubicBezTo>
                    <a:pt x="12245" y="21600"/>
                    <a:pt x="11685" y="19078"/>
                    <a:pt x="11685" y="13640"/>
                  </a:cubicBezTo>
                  <a:close/>
                  <a:moveTo>
                    <a:pt x="12790" y="6775"/>
                  </a:moveTo>
                  <a:cubicBezTo>
                    <a:pt x="12619" y="8688"/>
                    <a:pt x="12520" y="11180"/>
                    <a:pt x="12520" y="13640"/>
                  </a:cubicBezTo>
                  <a:cubicBezTo>
                    <a:pt x="12520" y="16770"/>
                    <a:pt x="12764" y="17894"/>
                    <a:pt x="13127" y="17894"/>
                  </a:cubicBezTo>
                  <a:cubicBezTo>
                    <a:pt x="13469" y="17894"/>
                    <a:pt x="13713" y="16709"/>
                    <a:pt x="13885" y="14825"/>
                  </a:cubicBezTo>
                  <a:cubicBezTo>
                    <a:pt x="14056" y="12912"/>
                    <a:pt x="14154" y="10420"/>
                    <a:pt x="14154" y="7960"/>
                  </a:cubicBezTo>
                  <a:cubicBezTo>
                    <a:pt x="14154" y="4830"/>
                    <a:pt x="13911" y="3706"/>
                    <a:pt x="13547" y="3706"/>
                  </a:cubicBezTo>
                  <a:cubicBezTo>
                    <a:pt x="13205" y="3706"/>
                    <a:pt x="12961" y="4891"/>
                    <a:pt x="12790" y="6775"/>
                  </a:cubicBezTo>
                  <a:close/>
                  <a:moveTo>
                    <a:pt x="18098" y="10177"/>
                  </a:moveTo>
                  <a:cubicBezTo>
                    <a:pt x="17963" y="11271"/>
                    <a:pt x="17745" y="12182"/>
                    <a:pt x="17459" y="12851"/>
                  </a:cubicBezTo>
                  <a:lnTo>
                    <a:pt x="18009" y="21175"/>
                  </a:lnTo>
                  <a:lnTo>
                    <a:pt x="17143" y="21175"/>
                  </a:lnTo>
                  <a:lnTo>
                    <a:pt x="16728" y="13641"/>
                  </a:lnTo>
                  <a:lnTo>
                    <a:pt x="16251" y="13641"/>
                  </a:lnTo>
                  <a:lnTo>
                    <a:pt x="16027" y="21175"/>
                  </a:lnTo>
                  <a:lnTo>
                    <a:pt x="15218" y="21175"/>
                  </a:lnTo>
                  <a:lnTo>
                    <a:pt x="15841" y="395"/>
                  </a:lnTo>
                  <a:lnTo>
                    <a:pt x="17050" y="395"/>
                  </a:lnTo>
                  <a:cubicBezTo>
                    <a:pt x="17491" y="395"/>
                    <a:pt x="17797" y="942"/>
                    <a:pt x="17989" y="1914"/>
                  </a:cubicBezTo>
                  <a:cubicBezTo>
                    <a:pt x="18202" y="2977"/>
                    <a:pt x="18290" y="4526"/>
                    <a:pt x="18290" y="6319"/>
                  </a:cubicBezTo>
                  <a:cubicBezTo>
                    <a:pt x="18290" y="7807"/>
                    <a:pt x="18227" y="9114"/>
                    <a:pt x="18098" y="10177"/>
                  </a:cubicBezTo>
                  <a:close/>
                  <a:moveTo>
                    <a:pt x="16354" y="10208"/>
                  </a:moveTo>
                  <a:lnTo>
                    <a:pt x="16666" y="10208"/>
                  </a:lnTo>
                  <a:cubicBezTo>
                    <a:pt x="16915" y="10208"/>
                    <a:pt x="17138" y="9934"/>
                    <a:pt x="17288" y="9114"/>
                  </a:cubicBezTo>
                  <a:cubicBezTo>
                    <a:pt x="17408" y="8476"/>
                    <a:pt x="17486" y="7443"/>
                    <a:pt x="17486" y="6349"/>
                  </a:cubicBezTo>
                  <a:cubicBezTo>
                    <a:pt x="17486" y="5651"/>
                    <a:pt x="17454" y="5012"/>
                    <a:pt x="17382" y="4587"/>
                  </a:cubicBezTo>
                  <a:cubicBezTo>
                    <a:pt x="17299" y="4101"/>
                    <a:pt x="17169" y="3828"/>
                    <a:pt x="16951" y="3828"/>
                  </a:cubicBezTo>
                  <a:lnTo>
                    <a:pt x="16546" y="3828"/>
                  </a:lnTo>
                  <a:lnTo>
                    <a:pt x="16354" y="10208"/>
                  </a:lnTo>
                  <a:close/>
                  <a:moveTo>
                    <a:pt x="19493" y="17742"/>
                  </a:moveTo>
                  <a:lnTo>
                    <a:pt x="21102" y="17742"/>
                  </a:lnTo>
                  <a:lnTo>
                    <a:pt x="21003" y="21175"/>
                  </a:lnTo>
                  <a:lnTo>
                    <a:pt x="18580" y="21175"/>
                  </a:lnTo>
                  <a:lnTo>
                    <a:pt x="19203" y="395"/>
                  </a:lnTo>
                  <a:lnTo>
                    <a:pt x="21600" y="395"/>
                  </a:lnTo>
                  <a:lnTo>
                    <a:pt x="21434" y="3828"/>
                  </a:lnTo>
                  <a:lnTo>
                    <a:pt x="19909" y="3828"/>
                  </a:lnTo>
                  <a:lnTo>
                    <a:pt x="19758" y="8871"/>
                  </a:lnTo>
                  <a:lnTo>
                    <a:pt x="20977" y="8871"/>
                  </a:lnTo>
                  <a:lnTo>
                    <a:pt x="20868" y="12425"/>
                  </a:lnTo>
                  <a:lnTo>
                    <a:pt x="19649" y="12425"/>
                  </a:lnTo>
                  <a:lnTo>
                    <a:pt x="19493" y="17742"/>
                  </a:lnTo>
                  <a:close/>
                  <a:moveTo>
                    <a:pt x="19493" y="17742"/>
                  </a:moveTo>
                </a:path>
              </a:pathLst>
            </a:custGeom>
            <a:solidFill>
              <a:schemeClr val="accent1"/>
            </a:solidFill>
            <a:ln w="25400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s-ES_tradnl"/>
            </a:p>
          </p:txBody>
        </p:sp>
        <p:sp>
          <p:nvSpPr>
            <p:cNvPr id="2057" name="AutoShape 3"/>
            <p:cNvSpPr>
              <a:spLocks/>
            </p:cNvSpPr>
            <p:nvPr/>
          </p:nvSpPr>
          <p:spPr bwMode="auto">
            <a:xfrm>
              <a:off x="533" y="98"/>
              <a:ext cx="58" cy="13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1600"/>
                <a:gd name="T19" fmla="*/ 0 h 21600"/>
                <a:gd name="T20" fmla="*/ 21600 w 21600"/>
                <a:gd name="T21" fmla="*/ 21600 h 2160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1600" h="21600">
                  <a:moveTo>
                    <a:pt x="0" y="21600"/>
                  </a:moveTo>
                  <a:lnTo>
                    <a:pt x="870" y="0"/>
                  </a:lnTo>
                  <a:lnTo>
                    <a:pt x="21600" y="0"/>
                  </a:lnTo>
                  <a:lnTo>
                    <a:pt x="20730" y="21600"/>
                  </a:lnTo>
                  <a:lnTo>
                    <a:pt x="0" y="21600"/>
                  </a:lnTo>
                  <a:close/>
                  <a:moveTo>
                    <a:pt x="0" y="21600"/>
                  </a:moveTo>
                </a:path>
              </a:pathLst>
            </a:custGeom>
            <a:solidFill>
              <a:srgbClr val="7DFE9D"/>
            </a:solidFill>
            <a:ln w="25400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s-ES_tradnl"/>
            </a:p>
          </p:txBody>
        </p:sp>
      </p:grpSp>
    </p:spTree>
    <p:extLst>
      <p:ext uri="{BB962C8B-B14F-4D97-AF65-F5344CB8AC3E}">
        <p14:creationId xmlns:p14="http://schemas.microsoft.com/office/powerpoint/2010/main" val="2982645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</p:sldLayoutIdLst>
  <p:transition/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+mj-lt"/>
          <a:ea typeface="+mj-ea"/>
          <a:cs typeface="+mj-cs"/>
          <a:sym typeface="Gill Sans" pitchFamily="-8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-8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-8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-8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-8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342900" indent="-342900" algn="ctr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  <a:sym typeface="Gill Sans" pitchFamily="-84" charset="0"/>
        </a:defRPr>
      </a:lvl1pPr>
      <a:lvl2pPr marL="742950" indent="-285750" algn="ctr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  <a:sym typeface="Gill Sans" pitchFamily="-84" charset="0"/>
        </a:defRPr>
      </a:lvl2pPr>
      <a:lvl3pPr marL="1143000" indent="-228600" algn="ctr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  <a:sym typeface="Gill Sans" pitchFamily="-84" charset="0"/>
        </a:defRPr>
      </a:lvl3pPr>
      <a:lvl4pPr marL="1600200" indent="-228600" algn="ctr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  <a:sym typeface="Gill Sans" pitchFamily="-84" charset="0"/>
        </a:defRPr>
      </a:lvl4pPr>
      <a:lvl5pPr marL="2057400" indent="-228600" algn="ctr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  <a:sym typeface="Gill Sans" pitchFamily="-8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425880" y="6464175"/>
            <a:ext cx="279065" cy="29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lang="en-US" sz="1000" smtClean="0">
                <a:solidFill>
                  <a:schemeClr val="accent6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fld id="{9D9F8B9A-560A-470D-9EA6-79F5999904E6}" type="slidenum">
              <a:rPr lang="en-GB">
                <a:solidFill>
                  <a:srgbClr val="00C6DA"/>
                </a:solidFill>
              </a:rPr>
              <a:pPr/>
              <a:t>‹Nº›</a:t>
            </a:fld>
            <a:endParaRPr lang="en-GB" dirty="0">
              <a:solidFill>
                <a:srgbClr val="00C6DA"/>
              </a:solidFill>
            </a:endParaRPr>
          </a:p>
        </p:txBody>
      </p:sp>
      <p:pic>
        <p:nvPicPr>
          <p:cNvPr id="19" name="Picture 2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5004" y="6455370"/>
            <a:ext cx="1206500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Grupo 1"/>
          <p:cNvGrpSpPr/>
          <p:nvPr userDrawn="1"/>
        </p:nvGrpSpPr>
        <p:grpSpPr>
          <a:xfrm>
            <a:off x="68592" y="6424152"/>
            <a:ext cx="2103461" cy="419839"/>
            <a:chOff x="68592" y="6424152"/>
            <a:chExt cx="2103461" cy="419839"/>
          </a:xfrm>
        </p:grpSpPr>
        <p:grpSp>
          <p:nvGrpSpPr>
            <p:cNvPr id="16" name="Group 5"/>
            <p:cNvGrpSpPr>
              <a:grpSpLocks/>
            </p:cNvGrpSpPr>
            <p:nvPr userDrawn="1"/>
          </p:nvGrpSpPr>
          <p:grpSpPr bwMode="auto">
            <a:xfrm>
              <a:off x="152926" y="6424152"/>
              <a:ext cx="938213" cy="177800"/>
              <a:chOff x="0" y="0"/>
              <a:chExt cx="591" cy="111"/>
            </a:xfrm>
          </p:grpSpPr>
          <p:sp>
            <p:nvSpPr>
              <p:cNvPr id="17" name="AutoShape 3"/>
              <p:cNvSpPr>
                <a:spLocks/>
              </p:cNvSpPr>
              <p:nvPr/>
            </p:nvSpPr>
            <p:spPr bwMode="auto">
              <a:xfrm>
                <a:off x="0" y="0"/>
                <a:ext cx="546" cy="96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w 21600"/>
                  <a:gd name="T13" fmla="*/ 0 h 21600"/>
                  <a:gd name="T14" fmla="*/ 0 w 21600"/>
                  <a:gd name="T15" fmla="*/ 0 h 21600"/>
                  <a:gd name="T16" fmla="*/ 0 w 21600"/>
                  <a:gd name="T17" fmla="*/ 0 h 21600"/>
                  <a:gd name="T18" fmla="*/ 0 w 21600"/>
                  <a:gd name="T19" fmla="*/ 0 h 21600"/>
                  <a:gd name="T20" fmla="*/ 0 w 21600"/>
                  <a:gd name="T21" fmla="*/ 0 h 21600"/>
                  <a:gd name="T22" fmla="*/ 0 w 21600"/>
                  <a:gd name="T23" fmla="*/ 0 h 21600"/>
                  <a:gd name="T24" fmla="*/ 0 w 21600"/>
                  <a:gd name="T25" fmla="*/ 0 h 21600"/>
                  <a:gd name="T26" fmla="*/ 0 w 21600"/>
                  <a:gd name="T27" fmla="*/ 0 h 21600"/>
                  <a:gd name="T28" fmla="*/ 0 w 21600"/>
                  <a:gd name="T29" fmla="*/ 0 h 21600"/>
                  <a:gd name="T30" fmla="*/ 0 w 21600"/>
                  <a:gd name="T31" fmla="*/ 0 h 21600"/>
                  <a:gd name="T32" fmla="*/ 0 w 21600"/>
                  <a:gd name="T33" fmla="*/ 0 h 21600"/>
                  <a:gd name="T34" fmla="*/ 0 w 21600"/>
                  <a:gd name="T35" fmla="*/ 0 h 21600"/>
                  <a:gd name="T36" fmla="*/ 0 w 21600"/>
                  <a:gd name="T37" fmla="*/ 0 h 21600"/>
                  <a:gd name="T38" fmla="*/ 0 w 21600"/>
                  <a:gd name="T39" fmla="*/ 0 h 21600"/>
                  <a:gd name="T40" fmla="*/ 0 w 21600"/>
                  <a:gd name="T41" fmla="*/ 0 h 21600"/>
                  <a:gd name="T42" fmla="*/ 0 w 21600"/>
                  <a:gd name="T43" fmla="*/ 0 h 21600"/>
                  <a:gd name="T44" fmla="*/ 0 w 21600"/>
                  <a:gd name="T45" fmla="*/ 0 h 21600"/>
                  <a:gd name="T46" fmla="*/ 0 w 21600"/>
                  <a:gd name="T47" fmla="*/ 0 h 21600"/>
                  <a:gd name="T48" fmla="*/ 0 w 21600"/>
                  <a:gd name="T49" fmla="*/ 0 h 21600"/>
                  <a:gd name="T50" fmla="*/ 0 w 21600"/>
                  <a:gd name="T51" fmla="*/ 0 h 21600"/>
                  <a:gd name="T52" fmla="*/ 0 w 21600"/>
                  <a:gd name="T53" fmla="*/ 0 h 21600"/>
                  <a:gd name="T54" fmla="*/ 0 w 21600"/>
                  <a:gd name="T55" fmla="*/ 0 h 21600"/>
                  <a:gd name="T56" fmla="*/ 0 w 21600"/>
                  <a:gd name="T57" fmla="*/ 0 h 21600"/>
                  <a:gd name="T58" fmla="*/ 0 w 21600"/>
                  <a:gd name="T59" fmla="*/ 0 h 21600"/>
                  <a:gd name="T60" fmla="*/ 0 w 21600"/>
                  <a:gd name="T61" fmla="*/ 0 h 21600"/>
                  <a:gd name="T62" fmla="*/ 0 w 21600"/>
                  <a:gd name="T63" fmla="*/ 0 h 21600"/>
                  <a:gd name="T64" fmla="*/ 0 w 21600"/>
                  <a:gd name="T65" fmla="*/ 0 h 21600"/>
                  <a:gd name="T66" fmla="*/ 0 w 21600"/>
                  <a:gd name="T67" fmla="*/ 0 h 21600"/>
                  <a:gd name="T68" fmla="*/ 0 w 21600"/>
                  <a:gd name="T69" fmla="*/ 0 h 21600"/>
                  <a:gd name="T70" fmla="*/ 0 w 21600"/>
                  <a:gd name="T71" fmla="*/ 0 h 21600"/>
                  <a:gd name="T72" fmla="*/ 0 w 21600"/>
                  <a:gd name="T73" fmla="*/ 0 h 21600"/>
                  <a:gd name="T74" fmla="*/ 0 w 21600"/>
                  <a:gd name="T75" fmla="*/ 0 h 21600"/>
                  <a:gd name="T76" fmla="*/ 0 w 21600"/>
                  <a:gd name="T77" fmla="*/ 0 h 21600"/>
                  <a:gd name="T78" fmla="*/ 0 w 21600"/>
                  <a:gd name="T79" fmla="*/ 0 h 21600"/>
                  <a:gd name="T80" fmla="*/ 0 w 21600"/>
                  <a:gd name="T81" fmla="*/ 0 h 21600"/>
                  <a:gd name="T82" fmla="*/ 0 w 21600"/>
                  <a:gd name="T83" fmla="*/ 0 h 21600"/>
                  <a:gd name="T84" fmla="*/ 0 w 21600"/>
                  <a:gd name="T85" fmla="*/ 0 h 21600"/>
                  <a:gd name="T86" fmla="*/ 0 w 21600"/>
                  <a:gd name="T87" fmla="*/ 0 h 21600"/>
                  <a:gd name="T88" fmla="*/ 0 w 21600"/>
                  <a:gd name="T89" fmla="*/ 0 h 21600"/>
                  <a:gd name="T90" fmla="*/ 0 w 21600"/>
                  <a:gd name="T91" fmla="*/ 0 h 21600"/>
                  <a:gd name="T92" fmla="*/ 0 w 21600"/>
                  <a:gd name="T93" fmla="*/ 0 h 21600"/>
                  <a:gd name="T94" fmla="*/ 0 w 21600"/>
                  <a:gd name="T95" fmla="*/ 0 h 21600"/>
                  <a:gd name="T96" fmla="*/ 0 w 21600"/>
                  <a:gd name="T97" fmla="*/ 0 h 21600"/>
                  <a:gd name="T98" fmla="*/ 0 w 21600"/>
                  <a:gd name="T99" fmla="*/ 0 h 21600"/>
                  <a:gd name="T100" fmla="*/ 0 w 21600"/>
                  <a:gd name="T101" fmla="*/ 0 h 21600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21600"/>
                  <a:gd name="T154" fmla="*/ 0 h 21600"/>
                  <a:gd name="T155" fmla="*/ 21600 w 21600"/>
                  <a:gd name="T156" fmla="*/ 21600 h 21600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21600" h="21600">
                    <a:moveTo>
                      <a:pt x="2236" y="9904"/>
                    </a:moveTo>
                    <a:cubicBezTo>
                      <a:pt x="2490" y="10359"/>
                      <a:pt x="2636" y="10997"/>
                      <a:pt x="2734" y="11787"/>
                    </a:cubicBezTo>
                    <a:cubicBezTo>
                      <a:pt x="2833" y="12577"/>
                      <a:pt x="2864" y="13428"/>
                      <a:pt x="2864" y="14460"/>
                    </a:cubicBezTo>
                    <a:cubicBezTo>
                      <a:pt x="2864" y="16952"/>
                      <a:pt x="2688" y="18501"/>
                      <a:pt x="2444" y="19473"/>
                    </a:cubicBezTo>
                    <a:cubicBezTo>
                      <a:pt x="2174" y="20567"/>
                      <a:pt x="1764" y="21175"/>
                      <a:pt x="1105" y="21175"/>
                    </a:cubicBezTo>
                    <a:lnTo>
                      <a:pt x="0" y="21175"/>
                    </a:lnTo>
                    <a:lnTo>
                      <a:pt x="623" y="395"/>
                    </a:lnTo>
                    <a:lnTo>
                      <a:pt x="1717" y="395"/>
                    </a:lnTo>
                    <a:cubicBezTo>
                      <a:pt x="2226" y="395"/>
                      <a:pt x="2480" y="942"/>
                      <a:pt x="2636" y="1671"/>
                    </a:cubicBezTo>
                    <a:cubicBezTo>
                      <a:pt x="2823" y="2552"/>
                      <a:pt x="2885" y="3797"/>
                      <a:pt x="2885" y="4982"/>
                    </a:cubicBezTo>
                    <a:cubicBezTo>
                      <a:pt x="2885" y="7017"/>
                      <a:pt x="2703" y="8871"/>
                      <a:pt x="2236" y="9904"/>
                    </a:cubicBezTo>
                    <a:close/>
                    <a:moveTo>
                      <a:pt x="908" y="17742"/>
                    </a:moveTo>
                    <a:lnTo>
                      <a:pt x="1188" y="17742"/>
                    </a:lnTo>
                    <a:cubicBezTo>
                      <a:pt x="1484" y="17742"/>
                      <a:pt x="1645" y="17529"/>
                      <a:pt x="1775" y="17134"/>
                    </a:cubicBezTo>
                    <a:cubicBezTo>
                      <a:pt x="1920" y="16679"/>
                      <a:pt x="2039" y="15919"/>
                      <a:pt x="2039" y="14643"/>
                    </a:cubicBezTo>
                    <a:cubicBezTo>
                      <a:pt x="2039" y="13792"/>
                      <a:pt x="1987" y="13155"/>
                      <a:pt x="1899" y="12760"/>
                    </a:cubicBezTo>
                    <a:cubicBezTo>
                      <a:pt x="1800" y="12304"/>
                      <a:pt x="1650" y="12091"/>
                      <a:pt x="1437" y="12091"/>
                    </a:cubicBezTo>
                    <a:lnTo>
                      <a:pt x="1079" y="12091"/>
                    </a:lnTo>
                    <a:lnTo>
                      <a:pt x="908" y="17742"/>
                    </a:lnTo>
                    <a:close/>
                    <a:moveTo>
                      <a:pt x="1183" y="8658"/>
                    </a:moveTo>
                    <a:lnTo>
                      <a:pt x="1365" y="8658"/>
                    </a:lnTo>
                    <a:cubicBezTo>
                      <a:pt x="1645" y="8658"/>
                      <a:pt x="1800" y="8324"/>
                      <a:pt x="1909" y="7838"/>
                    </a:cubicBezTo>
                    <a:cubicBezTo>
                      <a:pt x="2018" y="7352"/>
                      <a:pt x="2081" y="6623"/>
                      <a:pt x="2081" y="5742"/>
                    </a:cubicBezTo>
                    <a:cubicBezTo>
                      <a:pt x="2081" y="5134"/>
                      <a:pt x="2055" y="4739"/>
                      <a:pt x="1998" y="4405"/>
                    </a:cubicBezTo>
                    <a:cubicBezTo>
                      <a:pt x="1935" y="4071"/>
                      <a:pt x="1831" y="3828"/>
                      <a:pt x="1603" y="3828"/>
                    </a:cubicBezTo>
                    <a:lnTo>
                      <a:pt x="1328" y="3828"/>
                    </a:lnTo>
                    <a:lnTo>
                      <a:pt x="1183" y="8658"/>
                    </a:lnTo>
                    <a:close/>
                    <a:moveTo>
                      <a:pt x="4140" y="17742"/>
                    </a:moveTo>
                    <a:lnTo>
                      <a:pt x="5749" y="17742"/>
                    </a:lnTo>
                    <a:lnTo>
                      <a:pt x="5650" y="21175"/>
                    </a:lnTo>
                    <a:lnTo>
                      <a:pt x="3227" y="21175"/>
                    </a:lnTo>
                    <a:lnTo>
                      <a:pt x="3850" y="395"/>
                    </a:lnTo>
                    <a:lnTo>
                      <a:pt x="6247" y="395"/>
                    </a:lnTo>
                    <a:lnTo>
                      <a:pt x="6081" y="3828"/>
                    </a:lnTo>
                    <a:lnTo>
                      <a:pt x="4556" y="3828"/>
                    </a:lnTo>
                    <a:lnTo>
                      <a:pt x="4405" y="8871"/>
                    </a:lnTo>
                    <a:lnTo>
                      <a:pt x="5624" y="8871"/>
                    </a:lnTo>
                    <a:lnTo>
                      <a:pt x="5515" y="12425"/>
                    </a:lnTo>
                    <a:lnTo>
                      <a:pt x="4296" y="12425"/>
                    </a:lnTo>
                    <a:lnTo>
                      <a:pt x="4140" y="17742"/>
                    </a:lnTo>
                    <a:close/>
                    <a:moveTo>
                      <a:pt x="8540" y="395"/>
                    </a:moveTo>
                    <a:lnTo>
                      <a:pt x="9298" y="11878"/>
                    </a:lnTo>
                    <a:lnTo>
                      <a:pt x="10792" y="395"/>
                    </a:lnTo>
                    <a:lnTo>
                      <a:pt x="11456" y="395"/>
                    </a:lnTo>
                    <a:lnTo>
                      <a:pt x="10834" y="21175"/>
                    </a:lnTo>
                    <a:lnTo>
                      <a:pt x="10092" y="21175"/>
                    </a:lnTo>
                    <a:lnTo>
                      <a:pt x="10450" y="9053"/>
                    </a:lnTo>
                    <a:lnTo>
                      <a:pt x="9495" y="16436"/>
                    </a:lnTo>
                    <a:lnTo>
                      <a:pt x="8872" y="16436"/>
                    </a:lnTo>
                    <a:lnTo>
                      <a:pt x="8354" y="8658"/>
                    </a:lnTo>
                    <a:lnTo>
                      <a:pt x="7975" y="21175"/>
                    </a:lnTo>
                    <a:lnTo>
                      <a:pt x="7295" y="21175"/>
                    </a:lnTo>
                    <a:lnTo>
                      <a:pt x="7918" y="395"/>
                    </a:lnTo>
                    <a:lnTo>
                      <a:pt x="8540" y="395"/>
                    </a:lnTo>
                    <a:close/>
                    <a:moveTo>
                      <a:pt x="11685" y="13640"/>
                    </a:moveTo>
                    <a:cubicBezTo>
                      <a:pt x="11685" y="10451"/>
                      <a:pt x="11820" y="7321"/>
                      <a:pt x="12058" y="4921"/>
                    </a:cubicBezTo>
                    <a:cubicBezTo>
                      <a:pt x="12380" y="1701"/>
                      <a:pt x="12893" y="0"/>
                      <a:pt x="13610" y="0"/>
                    </a:cubicBezTo>
                    <a:cubicBezTo>
                      <a:pt x="14429" y="0"/>
                      <a:pt x="14990" y="2521"/>
                      <a:pt x="14990" y="7959"/>
                    </a:cubicBezTo>
                    <a:cubicBezTo>
                      <a:pt x="14990" y="11149"/>
                      <a:pt x="14855" y="14278"/>
                      <a:pt x="14616" y="16678"/>
                    </a:cubicBezTo>
                    <a:cubicBezTo>
                      <a:pt x="14295" y="19899"/>
                      <a:pt x="13781" y="21600"/>
                      <a:pt x="13065" y="21600"/>
                    </a:cubicBezTo>
                    <a:cubicBezTo>
                      <a:pt x="12245" y="21600"/>
                      <a:pt x="11685" y="19078"/>
                      <a:pt x="11685" y="13640"/>
                    </a:cubicBezTo>
                    <a:close/>
                    <a:moveTo>
                      <a:pt x="12790" y="6775"/>
                    </a:moveTo>
                    <a:cubicBezTo>
                      <a:pt x="12619" y="8688"/>
                      <a:pt x="12520" y="11180"/>
                      <a:pt x="12520" y="13640"/>
                    </a:cubicBezTo>
                    <a:cubicBezTo>
                      <a:pt x="12520" y="16770"/>
                      <a:pt x="12764" y="17894"/>
                      <a:pt x="13127" y="17894"/>
                    </a:cubicBezTo>
                    <a:cubicBezTo>
                      <a:pt x="13469" y="17894"/>
                      <a:pt x="13713" y="16709"/>
                      <a:pt x="13885" y="14825"/>
                    </a:cubicBezTo>
                    <a:cubicBezTo>
                      <a:pt x="14056" y="12912"/>
                      <a:pt x="14154" y="10420"/>
                      <a:pt x="14154" y="7960"/>
                    </a:cubicBezTo>
                    <a:cubicBezTo>
                      <a:pt x="14154" y="4830"/>
                      <a:pt x="13911" y="3706"/>
                      <a:pt x="13547" y="3706"/>
                    </a:cubicBezTo>
                    <a:cubicBezTo>
                      <a:pt x="13205" y="3706"/>
                      <a:pt x="12961" y="4891"/>
                      <a:pt x="12790" y="6775"/>
                    </a:cubicBezTo>
                    <a:close/>
                    <a:moveTo>
                      <a:pt x="18098" y="10177"/>
                    </a:moveTo>
                    <a:cubicBezTo>
                      <a:pt x="17963" y="11271"/>
                      <a:pt x="17745" y="12182"/>
                      <a:pt x="17459" y="12851"/>
                    </a:cubicBezTo>
                    <a:lnTo>
                      <a:pt x="18009" y="21175"/>
                    </a:lnTo>
                    <a:lnTo>
                      <a:pt x="17143" y="21175"/>
                    </a:lnTo>
                    <a:lnTo>
                      <a:pt x="16728" y="13641"/>
                    </a:lnTo>
                    <a:lnTo>
                      <a:pt x="16251" y="13641"/>
                    </a:lnTo>
                    <a:lnTo>
                      <a:pt x="16027" y="21175"/>
                    </a:lnTo>
                    <a:lnTo>
                      <a:pt x="15218" y="21175"/>
                    </a:lnTo>
                    <a:lnTo>
                      <a:pt x="15841" y="395"/>
                    </a:lnTo>
                    <a:lnTo>
                      <a:pt x="17050" y="395"/>
                    </a:lnTo>
                    <a:cubicBezTo>
                      <a:pt x="17491" y="395"/>
                      <a:pt x="17797" y="942"/>
                      <a:pt x="17989" y="1914"/>
                    </a:cubicBezTo>
                    <a:cubicBezTo>
                      <a:pt x="18202" y="2977"/>
                      <a:pt x="18290" y="4526"/>
                      <a:pt x="18290" y="6319"/>
                    </a:cubicBezTo>
                    <a:cubicBezTo>
                      <a:pt x="18290" y="7807"/>
                      <a:pt x="18227" y="9114"/>
                      <a:pt x="18098" y="10177"/>
                    </a:cubicBezTo>
                    <a:close/>
                    <a:moveTo>
                      <a:pt x="16354" y="10208"/>
                    </a:moveTo>
                    <a:lnTo>
                      <a:pt x="16666" y="10208"/>
                    </a:lnTo>
                    <a:cubicBezTo>
                      <a:pt x="16915" y="10208"/>
                      <a:pt x="17138" y="9934"/>
                      <a:pt x="17288" y="9114"/>
                    </a:cubicBezTo>
                    <a:cubicBezTo>
                      <a:pt x="17408" y="8476"/>
                      <a:pt x="17486" y="7443"/>
                      <a:pt x="17486" y="6349"/>
                    </a:cubicBezTo>
                    <a:cubicBezTo>
                      <a:pt x="17486" y="5651"/>
                      <a:pt x="17454" y="5012"/>
                      <a:pt x="17382" y="4587"/>
                    </a:cubicBezTo>
                    <a:cubicBezTo>
                      <a:pt x="17299" y="4101"/>
                      <a:pt x="17169" y="3828"/>
                      <a:pt x="16951" y="3828"/>
                    </a:cubicBezTo>
                    <a:lnTo>
                      <a:pt x="16546" y="3828"/>
                    </a:lnTo>
                    <a:lnTo>
                      <a:pt x="16354" y="10208"/>
                    </a:lnTo>
                    <a:close/>
                    <a:moveTo>
                      <a:pt x="19493" y="17742"/>
                    </a:moveTo>
                    <a:lnTo>
                      <a:pt x="21102" y="17742"/>
                    </a:lnTo>
                    <a:lnTo>
                      <a:pt x="21003" y="21175"/>
                    </a:lnTo>
                    <a:lnTo>
                      <a:pt x="18580" y="21175"/>
                    </a:lnTo>
                    <a:lnTo>
                      <a:pt x="19203" y="395"/>
                    </a:lnTo>
                    <a:lnTo>
                      <a:pt x="21600" y="395"/>
                    </a:lnTo>
                    <a:lnTo>
                      <a:pt x="21434" y="3828"/>
                    </a:lnTo>
                    <a:lnTo>
                      <a:pt x="19909" y="3828"/>
                    </a:lnTo>
                    <a:lnTo>
                      <a:pt x="19758" y="8871"/>
                    </a:lnTo>
                    <a:lnTo>
                      <a:pt x="20977" y="8871"/>
                    </a:lnTo>
                    <a:lnTo>
                      <a:pt x="20868" y="12425"/>
                    </a:lnTo>
                    <a:lnTo>
                      <a:pt x="19649" y="12425"/>
                    </a:lnTo>
                    <a:lnTo>
                      <a:pt x="19493" y="17742"/>
                    </a:lnTo>
                    <a:close/>
                    <a:moveTo>
                      <a:pt x="19493" y="17742"/>
                    </a:moveTo>
                  </a:path>
                </a:pathLst>
              </a:custGeom>
              <a:solidFill>
                <a:srgbClr val="1193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es-ES">
                  <a:solidFill>
                    <a:srgbClr val="FFFFFF"/>
                  </a:solidFill>
                </a:endParaRPr>
              </a:p>
            </p:txBody>
          </p:sp>
          <p:sp>
            <p:nvSpPr>
              <p:cNvPr id="18" name="AutoShape 4"/>
              <p:cNvSpPr>
                <a:spLocks/>
              </p:cNvSpPr>
              <p:nvPr/>
            </p:nvSpPr>
            <p:spPr bwMode="auto">
              <a:xfrm>
                <a:off x="533" y="98"/>
                <a:ext cx="58" cy="13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1600"/>
                  <a:gd name="T19" fmla="*/ 0 h 21600"/>
                  <a:gd name="T20" fmla="*/ 21600 w 21600"/>
                  <a:gd name="T21" fmla="*/ 21600 h 2160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1600" h="21600">
                    <a:moveTo>
                      <a:pt x="0" y="21600"/>
                    </a:moveTo>
                    <a:lnTo>
                      <a:pt x="870" y="0"/>
                    </a:lnTo>
                    <a:lnTo>
                      <a:pt x="21600" y="0"/>
                    </a:lnTo>
                    <a:lnTo>
                      <a:pt x="20730" y="21600"/>
                    </a:lnTo>
                    <a:lnTo>
                      <a:pt x="0" y="21600"/>
                    </a:lnTo>
                    <a:close/>
                    <a:moveTo>
                      <a:pt x="0" y="21600"/>
                    </a:moveTo>
                  </a:path>
                </a:pathLst>
              </a:custGeom>
              <a:solidFill>
                <a:srgbClr val="7DF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es-ES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7" name="22 CuadroTexto"/>
            <p:cNvSpPr txBox="1"/>
            <p:nvPr userDrawn="1"/>
          </p:nvSpPr>
          <p:spPr>
            <a:xfrm>
              <a:off x="68592" y="6597770"/>
              <a:ext cx="2103461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en-US" sz="1000" i="1" kern="0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SCOVER, DISRUPT, DELIV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5959834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8" r:id="rId7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17B4C6"/>
          </a:solidFill>
          <a:latin typeface="+mj-lt"/>
          <a:ea typeface="+mj-ea"/>
          <a:cs typeface="+mj-cs"/>
          <a:sym typeface="Gill Sans" pitchFamily="122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122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122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122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122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889000" indent="-571500" algn="l" rtl="0" eaLnBrk="0" fontAlgn="base" hangingPunct="0">
        <a:spcBef>
          <a:spcPts val="3400"/>
        </a:spcBef>
        <a:spcAft>
          <a:spcPct val="0"/>
        </a:spcAft>
        <a:buSzPct val="171000"/>
        <a:buFont typeface="Gill Sans" pitchFamily="122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1pPr>
      <a:lvl2pPr marL="1333500" indent="-571500" algn="l" rtl="0" eaLnBrk="0" fontAlgn="base" hangingPunct="0">
        <a:spcBef>
          <a:spcPts val="3400"/>
        </a:spcBef>
        <a:spcAft>
          <a:spcPct val="0"/>
        </a:spcAft>
        <a:buSzPct val="171000"/>
        <a:buFont typeface="Gill Sans" pitchFamily="122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2pPr>
      <a:lvl3pPr marL="1778000" indent="-571500" algn="l" rtl="0" eaLnBrk="0" fontAlgn="base" hangingPunct="0">
        <a:spcBef>
          <a:spcPts val="3400"/>
        </a:spcBef>
        <a:spcAft>
          <a:spcPct val="0"/>
        </a:spcAft>
        <a:buSzPct val="171000"/>
        <a:buFont typeface="Gill Sans" pitchFamily="122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3pPr>
      <a:lvl4pPr marL="2222500" indent="-571500" algn="l" rtl="0" eaLnBrk="0" fontAlgn="base" hangingPunct="0">
        <a:spcBef>
          <a:spcPts val="3400"/>
        </a:spcBef>
        <a:spcAft>
          <a:spcPct val="0"/>
        </a:spcAft>
        <a:buSzPct val="171000"/>
        <a:buFont typeface="Gill Sans" pitchFamily="122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4pPr>
      <a:lvl5pPr marL="2667000" indent="-571500" algn="l" rtl="0" eaLnBrk="0" fontAlgn="base" hangingPunct="0">
        <a:spcBef>
          <a:spcPts val="3400"/>
        </a:spcBef>
        <a:spcAft>
          <a:spcPct val="0"/>
        </a:spcAft>
        <a:buSzPct val="171000"/>
        <a:buFont typeface="Gill Sans" pitchFamily="122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5pPr>
      <a:lvl6pPr marL="3124200" indent="-571500" algn="l" rtl="0" fontAlgn="base">
        <a:spcBef>
          <a:spcPts val="3400"/>
        </a:spcBef>
        <a:spcAft>
          <a:spcPct val="0"/>
        </a:spcAft>
        <a:buSzPct val="171000"/>
        <a:buFont typeface="Gill Sans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3581400" indent="-571500" algn="l" rtl="0" fontAlgn="base">
        <a:spcBef>
          <a:spcPts val="3400"/>
        </a:spcBef>
        <a:spcAft>
          <a:spcPct val="0"/>
        </a:spcAft>
        <a:buSzPct val="171000"/>
        <a:buFont typeface="Gill Sans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4038600" indent="-571500" algn="l" rtl="0" fontAlgn="base">
        <a:spcBef>
          <a:spcPts val="3400"/>
        </a:spcBef>
        <a:spcAft>
          <a:spcPct val="0"/>
        </a:spcAft>
        <a:buSzPct val="171000"/>
        <a:buFont typeface="Gill Sans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4495800" indent="-571500" algn="l" rtl="0" fontAlgn="base">
        <a:spcBef>
          <a:spcPts val="3400"/>
        </a:spcBef>
        <a:spcAft>
          <a:spcPct val="0"/>
        </a:spcAft>
        <a:buSzPct val="171000"/>
        <a:buFont typeface="Gill Sans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 Objeto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2560392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2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71440" y="57152"/>
            <a:ext cx="8454499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algn="l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 err="1" smtClean="0"/>
              <a:t>Haga</a:t>
            </a:r>
            <a:r>
              <a:rPr lang="en-US" dirty="0" smtClean="0"/>
              <a:t> </a:t>
            </a:r>
            <a:r>
              <a:rPr lang="en-US" dirty="0" err="1" smtClean="0"/>
              <a:t>clic</a:t>
            </a:r>
            <a:r>
              <a:rPr lang="en-US" dirty="0" smtClean="0"/>
              <a:t> </a:t>
            </a:r>
            <a:r>
              <a:rPr lang="en-US" dirty="0" err="1" smtClean="0"/>
              <a:t>para</a:t>
            </a:r>
            <a:r>
              <a:rPr lang="en-US" dirty="0" smtClean="0"/>
              <a:t> </a:t>
            </a:r>
            <a:r>
              <a:rPr lang="en-US" dirty="0" err="1" smtClean="0"/>
              <a:t>cambiar</a:t>
            </a:r>
            <a:r>
              <a:rPr lang="en-US" dirty="0" smtClean="0"/>
              <a:t> el </a:t>
            </a:r>
            <a:r>
              <a:rPr lang="en-US" dirty="0" err="1" smtClean="0"/>
              <a:t>estilo</a:t>
            </a:r>
            <a:r>
              <a:rPr lang="en-US" dirty="0" smtClean="0"/>
              <a:t> de </a:t>
            </a:r>
            <a:r>
              <a:rPr lang="en-US" dirty="0" err="1" smtClean="0"/>
              <a:t>título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457200" y="1600200"/>
            <a:ext cx="8229600" cy="13542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800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err="1" smtClean="0"/>
              <a:t>Haga</a:t>
            </a:r>
            <a:r>
              <a:rPr lang="en-US" dirty="0" smtClean="0"/>
              <a:t> </a:t>
            </a:r>
            <a:r>
              <a:rPr lang="en-US" dirty="0" err="1" smtClean="0"/>
              <a:t>clic</a:t>
            </a:r>
            <a:r>
              <a:rPr lang="en-US" dirty="0" smtClean="0"/>
              <a:t> </a:t>
            </a:r>
            <a:r>
              <a:rPr lang="en-US" dirty="0" err="1" smtClean="0"/>
              <a:t>para</a:t>
            </a:r>
            <a:r>
              <a:rPr lang="en-US" dirty="0" smtClean="0"/>
              <a:t> </a:t>
            </a:r>
            <a:r>
              <a:rPr lang="en-US" dirty="0" err="1" smtClean="0"/>
              <a:t>modificar</a:t>
            </a:r>
            <a:r>
              <a:rPr lang="en-US" dirty="0" smtClean="0"/>
              <a:t> el </a:t>
            </a:r>
            <a:r>
              <a:rPr lang="en-US" dirty="0" err="1" smtClean="0"/>
              <a:t>estilo</a:t>
            </a:r>
            <a:r>
              <a:rPr lang="en-US" dirty="0" smtClean="0"/>
              <a:t> de </a:t>
            </a:r>
            <a:r>
              <a:rPr lang="en-US" dirty="0" err="1" smtClean="0"/>
              <a:t>texto</a:t>
            </a:r>
            <a:r>
              <a:rPr lang="en-US" dirty="0" smtClean="0"/>
              <a:t> del </a:t>
            </a:r>
            <a:r>
              <a:rPr lang="en-US" dirty="0" err="1" smtClean="0"/>
              <a:t>patrón</a:t>
            </a:r>
            <a:endParaRPr lang="en-US" dirty="0" smtClean="0"/>
          </a:p>
          <a:p>
            <a:pPr marL="361950" lvl="1" indent="-1778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5000"/>
              <a:buFont typeface="Wingdings" pitchFamily="2" charset="2"/>
              <a:buChar char="§"/>
            </a:pPr>
            <a:r>
              <a:rPr lang="en-US" dirty="0" smtClean="0"/>
              <a:t>Segundo </a:t>
            </a:r>
            <a:r>
              <a:rPr lang="en-US" dirty="0" err="1" smtClean="0"/>
              <a:t>nivel</a:t>
            </a:r>
            <a:endParaRPr lang="en-US" dirty="0" smtClean="0"/>
          </a:p>
          <a:p>
            <a:pPr marL="546100" lvl="2" indent="-1905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5000"/>
              <a:buChar char="•"/>
            </a:pPr>
            <a:r>
              <a:rPr lang="en-US" dirty="0" err="1" smtClean="0"/>
              <a:t>Tercer</a:t>
            </a:r>
            <a:r>
              <a:rPr lang="en-US" dirty="0" smtClean="0"/>
              <a:t> </a:t>
            </a:r>
            <a:r>
              <a:rPr lang="en-US" dirty="0" err="1" smtClean="0"/>
              <a:t>nivel</a:t>
            </a:r>
            <a:endParaRPr lang="en-US" dirty="0" smtClean="0"/>
          </a:p>
          <a:p>
            <a:pPr marL="717550" lvl="3" indent="-17145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Char char="-"/>
            </a:pPr>
            <a:r>
              <a:rPr lang="en-US" dirty="0" smtClean="0"/>
              <a:t>A</a:t>
            </a:r>
          </a:p>
          <a:p>
            <a:pPr marL="901700" lvl="4" indent="-1905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0000"/>
              <a:buChar char="»"/>
            </a:pPr>
            <a:r>
              <a:rPr lang="en-US" dirty="0" smtClean="0"/>
              <a:t>s</a:t>
            </a:r>
          </a:p>
        </p:txBody>
      </p:sp>
      <p:sp>
        <p:nvSpPr>
          <p:cNvPr id="13" name="AutoShape 10"/>
          <p:cNvSpPr>
            <a:spLocks/>
          </p:cNvSpPr>
          <p:nvPr userDrawn="1"/>
        </p:nvSpPr>
        <p:spPr bwMode="auto">
          <a:xfrm>
            <a:off x="4343400" y="6494463"/>
            <a:ext cx="457200" cy="254000"/>
          </a:xfrm>
          <a:prstGeom prst="roundRect">
            <a:avLst>
              <a:gd name="adj" fmla="val 50000"/>
            </a:avLst>
          </a:prstGeom>
          <a:noFill/>
          <a:ln w="19050" cap="rnd">
            <a:noFill/>
            <a:prstDash val="sysDot"/>
            <a:miter lim="800000"/>
            <a:headEnd/>
            <a:tailEnd/>
          </a:ln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s-ES" sz="1100">
              <a:solidFill>
                <a:srgbClr val="000000"/>
              </a:solidFill>
              <a:ea typeface="ヒラギノ角ゴ ProN W3" charset="-128"/>
              <a:sym typeface="Gill Sans" charset="0"/>
            </a:endParaRPr>
          </a:p>
        </p:txBody>
      </p:sp>
      <p:sp>
        <p:nvSpPr>
          <p:cNvPr id="15" name="Rectangle 3"/>
          <p:cNvSpPr>
            <a:spLocks/>
          </p:cNvSpPr>
          <p:nvPr userDrawn="1"/>
        </p:nvSpPr>
        <p:spPr bwMode="auto">
          <a:xfrm>
            <a:off x="4449763" y="6528427"/>
            <a:ext cx="244475" cy="1682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fld id="{F6474E85-4A54-4D35-997A-70FA60FDD3BE}" type="slidenum">
              <a:rPr lang="en-US" sz="1100">
                <a:solidFill>
                  <a:srgbClr val="003F52"/>
                </a:solidFill>
                <a:ea typeface="MS PGothic"/>
                <a:cs typeface="MS PGothic"/>
                <a:sym typeface="Arial" pitchFamily="34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sz="1100" dirty="0">
              <a:solidFill>
                <a:srgbClr val="003F52"/>
              </a:solidFill>
              <a:ea typeface="MS PGothic"/>
              <a:cs typeface="MS PGothic"/>
              <a:sym typeface="Arial" pitchFamily="34" charset="0"/>
            </a:endParaRPr>
          </a:p>
        </p:txBody>
      </p:sp>
      <p:sp>
        <p:nvSpPr>
          <p:cNvPr id="16" name="Rectangle 12"/>
          <p:cNvSpPr>
            <a:spLocks/>
          </p:cNvSpPr>
          <p:nvPr userDrawn="1"/>
        </p:nvSpPr>
        <p:spPr bwMode="auto">
          <a:xfrm>
            <a:off x="128588" y="6527425"/>
            <a:ext cx="751809" cy="16927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1100" dirty="0" smtClean="0">
                <a:solidFill>
                  <a:srgbClr val="102E3F"/>
                </a:solidFill>
                <a:ea typeface="ＭＳ Ｐゴシック" charset="-128"/>
                <a:sym typeface="Arial Bold" charset="0"/>
              </a:rPr>
              <a:t>Movistar TV</a:t>
            </a:r>
            <a:endParaRPr lang="es-ES_tradnl" sz="1100" dirty="0">
              <a:solidFill>
                <a:srgbClr val="102E3F"/>
              </a:solidFill>
              <a:ea typeface="ＭＳ Ｐゴシック" charset="-128"/>
              <a:sym typeface="Arial" pitchFamily="34" charset="0"/>
            </a:endParaRPr>
          </a:p>
        </p:txBody>
      </p:sp>
      <p:pic>
        <p:nvPicPr>
          <p:cNvPr id="17" name="Picture 1"/>
          <p:cNvPicPr>
            <a:picLocks noChangeAspect="1" noChangeArrowheads="1"/>
          </p:cNvPicPr>
          <p:nvPr userDrawn="1"/>
        </p:nvPicPr>
        <p:blipFill>
          <a:blip r:embed="rId1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99413" y="6453020"/>
            <a:ext cx="1039812" cy="319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1403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US" sz="2800" dirty="0" smtClean="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accent2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accent2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accent2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accent2"/>
          </a:solidFill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Arial" pitchFamily="34" charset="0"/>
        </a:defRPr>
      </a:lvl9pPr>
    </p:titleStyle>
    <p:bodyStyle>
      <a:lvl1pPr marL="190500" indent="-1905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2"/>
        </a:buClr>
        <a:buSzPct val="175000"/>
        <a:buChar char="•"/>
        <a:defRPr lang="en-US" sz="16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61950" indent="-1778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00BACF"/>
        </a:buClr>
        <a:buSzPct val="125000"/>
        <a:buFont typeface="Wingdings" pitchFamily="2" charset="2"/>
        <a:buChar char="§"/>
        <a:defRPr lang="en-US" sz="1600" kern="1200" dirty="0" smtClean="0">
          <a:solidFill>
            <a:schemeClr val="tx1"/>
          </a:solidFill>
          <a:latin typeface="Arial" pitchFamily="34" charset="0"/>
          <a:ea typeface="ヒラギノ角ゴ ProN W3" charset="-128"/>
          <a:cs typeface="Arial" pitchFamily="34" charset="0"/>
        </a:defRPr>
      </a:lvl2pPr>
      <a:lvl3pPr marL="546100" indent="-1905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123E51"/>
        </a:buClr>
        <a:buSzPct val="125000"/>
        <a:buChar char="•"/>
        <a:defRPr lang="en-US" sz="1600" kern="1200" dirty="0" smtClean="0">
          <a:solidFill>
            <a:schemeClr val="tx1"/>
          </a:solidFill>
          <a:latin typeface="Arial" pitchFamily="34" charset="0"/>
          <a:ea typeface="ヒラギノ角ゴ ProN W3" charset="-128"/>
          <a:cs typeface="Arial" pitchFamily="34" charset="0"/>
        </a:defRPr>
      </a:lvl3pPr>
      <a:lvl4pPr marL="717550" indent="-1714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123E51"/>
        </a:buClr>
        <a:buSzPct val="120000"/>
        <a:buFont typeface="Arial" pitchFamily="34" charset="0"/>
        <a:buChar char="-"/>
        <a:defRPr lang="en-US" sz="1600" kern="1200" dirty="0" smtClean="0">
          <a:solidFill>
            <a:schemeClr val="tx1"/>
          </a:solidFill>
          <a:latin typeface="Arial" pitchFamily="34" charset="0"/>
          <a:ea typeface="ヒラギノ角ゴ ProN W3" charset="-128"/>
          <a:cs typeface="Arial" pitchFamily="34" charset="0"/>
        </a:defRPr>
      </a:lvl4pPr>
      <a:lvl5pPr marL="901700" indent="-1905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123E51"/>
        </a:buClr>
        <a:buChar char="»"/>
        <a:defRPr lang="en-US" sz="1600" kern="1200" dirty="0" smtClean="0">
          <a:solidFill>
            <a:schemeClr val="tx1"/>
          </a:solidFill>
          <a:latin typeface="Arial" pitchFamily="34" charset="0"/>
          <a:ea typeface="ヒラギノ角ゴ ProN W3" charset="-128"/>
          <a:cs typeface="Arial" pitchFamily="34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255C8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255C8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255C8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255C81"/>
          </a:solidFill>
          <a:latin typeface="+mn-lt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7" Type="http://schemas.openxmlformats.org/officeDocument/2006/relationships/image" Target="../media/image14.JP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44008" y="6464175"/>
            <a:ext cx="279065" cy="292350"/>
          </a:xfrm>
        </p:spPr>
        <p:txBody>
          <a:bodyPr/>
          <a:lstStyle/>
          <a:p>
            <a:fld id="{9D9F8B9A-560A-470D-9EA6-79F5999904E6}" type="slidenum">
              <a:rPr lang="es-ES" smtClean="0"/>
              <a:pPr/>
              <a:t>1</a:t>
            </a:fld>
            <a:endParaRPr lang="es-ES" dirty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0" y="0"/>
            <a:ext cx="9144000" cy="9142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 sz="3000" b="0">
                <a:latin typeface="+mj-lt"/>
                <a:ea typeface="+mj-ea"/>
                <a:cs typeface="+mj-cs"/>
                <a:sym typeface="Gill Sans" pitchFamily="122" charset="0"/>
              </a:defRPr>
            </a:lvl1pPr>
            <a:lvl2pPr algn="ctr" eaLnBrk="0" fontAlgn="base" hangingPunct="0">
              <a:spcBef>
                <a:spcPct val="0"/>
              </a:spcBef>
              <a:spcAft>
                <a:spcPct val="0"/>
              </a:spcAft>
              <a:defRPr sz="5800">
                <a:latin typeface="Gill Sans" charset="0"/>
                <a:ea typeface="ヒラギノ角ゴ ProN W3" charset="0"/>
                <a:cs typeface="ヒラギノ角ゴ ProN W3" charset="0"/>
                <a:sym typeface="Gill Sans" pitchFamily="122" charset="0"/>
              </a:defRPr>
            </a:lvl2pPr>
            <a:lvl3pPr algn="ctr" eaLnBrk="0" fontAlgn="base" hangingPunct="0">
              <a:spcBef>
                <a:spcPct val="0"/>
              </a:spcBef>
              <a:spcAft>
                <a:spcPct val="0"/>
              </a:spcAft>
              <a:defRPr sz="5800">
                <a:latin typeface="Gill Sans" charset="0"/>
                <a:ea typeface="ヒラギノ角ゴ ProN W3" charset="0"/>
                <a:cs typeface="ヒラギノ角ゴ ProN W3" charset="0"/>
                <a:sym typeface="Gill Sans" pitchFamily="122" charset="0"/>
              </a:defRPr>
            </a:lvl3pPr>
            <a:lvl4pPr algn="ctr" eaLnBrk="0" fontAlgn="base" hangingPunct="0">
              <a:spcBef>
                <a:spcPct val="0"/>
              </a:spcBef>
              <a:spcAft>
                <a:spcPct val="0"/>
              </a:spcAft>
              <a:defRPr sz="5800">
                <a:latin typeface="Gill Sans" charset="0"/>
                <a:ea typeface="ヒラギノ角ゴ ProN W3" charset="0"/>
                <a:cs typeface="ヒラギノ角ゴ ProN W3" charset="0"/>
                <a:sym typeface="Gill Sans" pitchFamily="122" charset="0"/>
              </a:defRPr>
            </a:lvl4pPr>
            <a:lvl5pPr algn="ctr" eaLnBrk="0" fontAlgn="base" hangingPunct="0">
              <a:spcBef>
                <a:spcPct val="0"/>
              </a:spcBef>
              <a:spcAft>
                <a:spcPct val="0"/>
              </a:spcAft>
              <a:defRPr sz="5800">
                <a:latin typeface="Gill Sans" charset="0"/>
                <a:ea typeface="ヒラギノ角ゴ ProN W3" charset="0"/>
                <a:cs typeface="ヒラギノ角ゴ ProN W3" charset="0"/>
                <a:sym typeface="Gill Sans" pitchFamily="122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5800"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5800"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5800"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5800"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r>
              <a:rPr lang="es-ES" sz="2400" dirty="0"/>
              <a:t>N</a:t>
            </a:r>
            <a:r>
              <a:rPr lang="es-ES" sz="2400" dirty="0" smtClean="0"/>
              <a:t>uevo portfolio Fusión disponible desde </a:t>
            </a:r>
            <a:r>
              <a:rPr lang="es-ES" sz="2400" smtClean="0"/>
              <a:t>el </a:t>
            </a:r>
            <a:r>
              <a:rPr lang="es-ES" sz="2400" smtClean="0"/>
              <a:t>25 </a:t>
            </a:r>
            <a:r>
              <a:rPr lang="es-ES" sz="2400" dirty="0" smtClean="0"/>
              <a:t>de abril</a:t>
            </a:r>
            <a:endParaRPr lang="es-ES" sz="2400" dirty="0"/>
          </a:p>
        </p:txBody>
      </p:sp>
      <p:sp>
        <p:nvSpPr>
          <p:cNvPr id="21" name="20 Rectángulo redondeado"/>
          <p:cNvSpPr/>
          <p:nvPr/>
        </p:nvSpPr>
        <p:spPr bwMode="auto">
          <a:xfrm>
            <a:off x="1331640" y="4069961"/>
            <a:ext cx="7704856" cy="2239359"/>
          </a:xfrm>
          <a:prstGeom prst="roundRect">
            <a:avLst>
              <a:gd name="adj" fmla="val 7408"/>
            </a:avLst>
          </a:prstGeom>
          <a:solidFill>
            <a:schemeClr val="tx1">
              <a:lumMod val="10000"/>
              <a:lumOff val="9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  <a:extLst/>
        </p:spPr>
        <p:txBody>
          <a:bodyPr anchor="ctr"/>
          <a:lstStyle/>
          <a:p>
            <a:pPr algn="ctr">
              <a:defRPr/>
            </a:pPr>
            <a:endParaRPr lang="es-ES" sz="2000" dirty="0">
              <a:solidFill>
                <a:srgbClr val="003245"/>
              </a:solidFill>
              <a:latin typeface="+mn-lt"/>
              <a:ea typeface="+mn-ea"/>
              <a:cs typeface="+mn-cs"/>
              <a:sym typeface="Gill Sans" charset="0"/>
            </a:endParaRPr>
          </a:p>
        </p:txBody>
      </p:sp>
      <p:sp>
        <p:nvSpPr>
          <p:cNvPr id="22" name="21 Rectángulo redondeado"/>
          <p:cNvSpPr/>
          <p:nvPr/>
        </p:nvSpPr>
        <p:spPr bwMode="auto">
          <a:xfrm>
            <a:off x="1331641" y="1318741"/>
            <a:ext cx="7704855" cy="2254275"/>
          </a:xfrm>
          <a:prstGeom prst="roundRect">
            <a:avLst>
              <a:gd name="adj" fmla="val 7408"/>
            </a:avLst>
          </a:prstGeom>
          <a:solidFill>
            <a:schemeClr val="tx1">
              <a:lumMod val="10000"/>
              <a:lumOff val="9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  <a:extLst/>
        </p:spPr>
        <p:txBody>
          <a:bodyPr anchor="ctr"/>
          <a:lstStyle/>
          <a:p>
            <a:pPr algn="ctr">
              <a:defRPr/>
            </a:pPr>
            <a:endParaRPr lang="es-ES" sz="2000" dirty="0">
              <a:solidFill>
                <a:srgbClr val="003245"/>
              </a:solidFill>
              <a:latin typeface="+mn-lt"/>
              <a:ea typeface="+mn-ea"/>
              <a:cs typeface="+mn-cs"/>
              <a:sym typeface="Gill Sans" charset="0"/>
            </a:endParaRPr>
          </a:p>
        </p:txBody>
      </p:sp>
      <p:sp>
        <p:nvSpPr>
          <p:cNvPr id="23" name="155 Rectángulo redondeado"/>
          <p:cNvSpPr>
            <a:spLocks noChangeArrowheads="1"/>
          </p:cNvSpPr>
          <p:nvPr/>
        </p:nvSpPr>
        <p:spPr bwMode="auto">
          <a:xfrm>
            <a:off x="2164021" y="968214"/>
            <a:ext cx="1534814" cy="5269098"/>
          </a:xfrm>
          <a:prstGeom prst="roundRect">
            <a:avLst>
              <a:gd name="adj" fmla="val 4245"/>
            </a:avLst>
          </a:prstGeom>
          <a:noFill/>
          <a:ln w="2540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36000" tIns="0" rIns="36000" anchor="t" anchorCtr="0"/>
          <a:lstStyle/>
          <a:p>
            <a:pPr algn="ctr"/>
            <a:r>
              <a:rPr lang="es-ES" sz="1600" dirty="0" smtClean="0">
                <a:solidFill>
                  <a:schemeClr val="tx2">
                    <a:lumMod val="90000"/>
                    <a:lumOff val="10000"/>
                  </a:schemeClr>
                </a:solidFill>
                <a:sym typeface="Gill Sans" charset="0"/>
              </a:rPr>
              <a:t>FUSIÓN TV </a:t>
            </a:r>
            <a:endParaRPr lang="es-ES" sz="1600" dirty="0">
              <a:solidFill>
                <a:schemeClr val="tx2">
                  <a:lumMod val="90000"/>
                  <a:lumOff val="10000"/>
                </a:schemeClr>
              </a:solidFill>
              <a:sym typeface="Gill Sans" charset="0"/>
            </a:endParaRPr>
          </a:p>
        </p:txBody>
      </p:sp>
      <p:sp>
        <p:nvSpPr>
          <p:cNvPr id="34" name="155 Rectángulo redondeado"/>
          <p:cNvSpPr>
            <a:spLocks noChangeArrowheads="1"/>
          </p:cNvSpPr>
          <p:nvPr/>
        </p:nvSpPr>
        <p:spPr bwMode="auto">
          <a:xfrm>
            <a:off x="3928999" y="968214"/>
            <a:ext cx="4974470" cy="5269098"/>
          </a:xfrm>
          <a:prstGeom prst="roundRect">
            <a:avLst>
              <a:gd name="adj" fmla="val 1478"/>
            </a:avLst>
          </a:prstGeom>
          <a:noFill/>
          <a:ln w="2540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36000" tIns="0" rIns="36000" anchor="t" anchorCtr="0"/>
          <a:lstStyle/>
          <a:p>
            <a:pPr algn="ctr"/>
            <a:r>
              <a:rPr lang="es-ES" sz="1600" dirty="0" smtClean="0">
                <a:solidFill>
                  <a:schemeClr val="tx2">
                    <a:lumMod val="90000"/>
                    <a:lumOff val="10000"/>
                  </a:schemeClr>
                </a:solidFill>
                <a:sym typeface="Gill Sans" charset="0"/>
              </a:rPr>
              <a:t>FUSIÓN TV</a:t>
            </a:r>
            <a:endParaRPr lang="es-ES" sz="1600" dirty="0">
              <a:solidFill>
                <a:schemeClr val="tx2">
                  <a:lumMod val="90000"/>
                  <a:lumOff val="10000"/>
                </a:schemeClr>
              </a:solidFill>
              <a:sym typeface="Gill Sans" charset="0"/>
            </a:endParaRPr>
          </a:p>
        </p:txBody>
      </p:sp>
      <p:sp>
        <p:nvSpPr>
          <p:cNvPr id="35" name="34 Rectángulo"/>
          <p:cNvSpPr/>
          <p:nvPr/>
        </p:nvSpPr>
        <p:spPr>
          <a:xfrm rot="16200000">
            <a:off x="1071997" y="2049170"/>
            <a:ext cx="1334020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3200" b="1" cap="none" spc="0" dirty="0" smtClean="0">
                <a:ln w="1905"/>
                <a:solidFill>
                  <a:schemeClr val="tx1">
                    <a:lumMod val="75000"/>
                    <a:lumOff val="25000"/>
                  </a:schemeClr>
                </a:solidFill>
              </a:rPr>
              <a:t>10 Mb</a:t>
            </a:r>
          </a:p>
          <a:p>
            <a:pPr algn="ctr"/>
            <a:r>
              <a:rPr lang="es-ES" sz="1200" b="1" dirty="0" smtClean="0">
                <a:ln w="1905"/>
                <a:solidFill>
                  <a:schemeClr val="tx1">
                    <a:lumMod val="75000"/>
                    <a:lumOff val="25000"/>
                  </a:schemeClr>
                </a:solidFill>
              </a:rPr>
              <a:t>(cobre y fibra)</a:t>
            </a:r>
            <a:endParaRPr lang="es-ES" sz="1200" b="1" cap="none" spc="0" dirty="0">
              <a:ln w="1905"/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6" name="35 Rectángulo"/>
          <p:cNvSpPr/>
          <p:nvPr/>
        </p:nvSpPr>
        <p:spPr>
          <a:xfrm rot="16200000">
            <a:off x="951770" y="4797650"/>
            <a:ext cx="1574470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3200" b="1" cap="none" spc="0" dirty="0" smtClean="0">
                <a:ln w="1905"/>
                <a:solidFill>
                  <a:schemeClr val="tx1">
                    <a:lumMod val="75000"/>
                    <a:lumOff val="25000"/>
                  </a:schemeClr>
                </a:solidFill>
              </a:rPr>
              <a:t>100 Mb</a:t>
            </a:r>
            <a:endParaRPr lang="es-ES" sz="3200" b="1" cap="none" spc="0" dirty="0">
              <a:ln w="1905"/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7" name="36 Rectángulo redondeado"/>
          <p:cNvSpPr/>
          <p:nvPr/>
        </p:nvSpPr>
        <p:spPr bwMode="auto">
          <a:xfrm>
            <a:off x="4083524" y="1318741"/>
            <a:ext cx="3230698" cy="1945068"/>
          </a:xfrm>
          <a:prstGeom prst="roundRect">
            <a:avLst>
              <a:gd name="adj" fmla="val 11446"/>
            </a:avLst>
          </a:prstGeom>
          <a:solidFill>
            <a:schemeClr val="accent1">
              <a:lumMod val="90000"/>
              <a:lumOff val="1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" sz="2000" b="0" i="0" u="none" strike="noStrike" cap="none" normalizeH="0" baseline="0" dirty="0">
              <a:ln>
                <a:noFill/>
              </a:ln>
              <a:solidFill>
                <a:schemeClr val="bg2"/>
              </a:solidFill>
              <a:effectLst/>
              <a:latin typeface="Trebuchet MS" panose="020B0603020202020204" pitchFamily="34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grpSp>
        <p:nvGrpSpPr>
          <p:cNvPr id="38" name="37 Grupo"/>
          <p:cNvGrpSpPr/>
          <p:nvPr/>
        </p:nvGrpSpPr>
        <p:grpSpPr>
          <a:xfrm>
            <a:off x="4130906" y="1390749"/>
            <a:ext cx="255588" cy="240757"/>
            <a:chOff x="3779912" y="1912712"/>
            <a:chExt cx="255588" cy="240757"/>
          </a:xfrm>
        </p:grpSpPr>
        <p:sp>
          <p:nvSpPr>
            <p:cNvPr id="39" name="AutoShape 17"/>
            <p:cNvSpPr>
              <a:spLocks/>
            </p:cNvSpPr>
            <p:nvPr/>
          </p:nvSpPr>
          <p:spPr bwMode="auto">
            <a:xfrm>
              <a:off x="3779912" y="1912712"/>
              <a:ext cx="255588" cy="240757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glow rad="63500">
                <a:schemeClr val="accent3">
                  <a:satMod val="175000"/>
                  <a:alpha val="40000"/>
                </a:schemeClr>
              </a:glow>
            </a:effectLst>
            <a:scene3d>
              <a:camera prst="orthographicFront"/>
              <a:lightRig rig="threePt" dir="t"/>
            </a:scene3d>
            <a:sp3d>
              <a:bevelT/>
            </a:sp3d>
            <a:extLst/>
          </p:spPr>
          <p:txBody>
            <a:bodyPr lIns="0" tIns="0" rIns="0" bIns="0"/>
            <a:lstStyle>
              <a:lvl1pPr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1pPr>
              <a:lvl2pPr marL="37931725" indent="-37474525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2pPr>
              <a:lvl3pPr marL="11430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3pPr>
              <a:lvl4pPr marL="16002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4pPr>
              <a:lvl5pPr marL="20574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ES_tradnl" sz="3085">
                <a:latin typeface="Trebuchet MS" panose="020B0603020202020204" pitchFamily="34" charset="0"/>
                <a:cs typeface="+mn-cs"/>
              </a:endParaRPr>
            </a:p>
          </p:txBody>
        </p:sp>
        <p:pic>
          <p:nvPicPr>
            <p:cNvPr id="40" name="Picture 27"/>
            <p:cNvPicPr>
              <a:picLocks noChangeArrowheads="1"/>
            </p:cNvPicPr>
            <p:nvPr/>
          </p:nvPicPr>
          <p:blipFill>
            <a:blip r:embed="rId2">
              <a:clrChange>
                <a:clrFrom>
                  <a:srgbClr val="FCFFFD"/>
                </a:clrFrom>
                <a:clrTo>
                  <a:srgbClr val="FCFFFD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2" r="75841" b="-21532"/>
            <a:stretch>
              <a:fillRect/>
            </a:stretch>
          </p:blipFill>
          <p:spPr bwMode="auto">
            <a:xfrm>
              <a:off x="3845001" y="1974626"/>
              <a:ext cx="144462" cy="146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41" name="40 Grupo"/>
          <p:cNvGrpSpPr/>
          <p:nvPr/>
        </p:nvGrpSpPr>
        <p:grpSpPr>
          <a:xfrm>
            <a:off x="4130906" y="1678781"/>
            <a:ext cx="255588" cy="240757"/>
            <a:chOff x="3804518" y="2336098"/>
            <a:chExt cx="255588" cy="240757"/>
          </a:xfrm>
        </p:grpSpPr>
        <p:sp>
          <p:nvSpPr>
            <p:cNvPr id="42" name="AutoShape 17"/>
            <p:cNvSpPr>
              <a:spLocks/>
            </p:cNvSpPr>
            <p:nvPr/>
          </p:nvSpPr>
          <p:spPr bwMode="auto">
            <a:xfrm>
              <a:off x="3804518" y="2336098"/>
              <a:ext cx="255588" cy="240757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glow rad="63500">
                <a:schemeClr val="accent3">
                  <a:satMod val="175000"/>
                  <a:alpha val="40000"/>
                </a:schemeClr>
              </a:glow>
            </a:effectLst>
            <a:scene3d>
              <a:camera prst="orthographicFront"/>
              <a:lightRig rig="threePt" dir="t"/>
            </a:scene3d>
            <a:sp3d>
              <a:bevelT/>
            </a:sp3d>
            <a:extLst/>
          </p:spPr>
          <p:txBody>
            <a:bodyPr lIns="0" tIns="0" rIns="0" bIns="0"/>
            <a:lstStyle>
              <a:lvl1pPr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1pPr>
              <a:lvl2pPr marL="37931725" indent="-37474525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2pPr>
              <a:lvl3pPr marL="11430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3pPr>
              <a:lvl4pPr marL="16002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4pPr>
              <a:lvl5pPr marL="20574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ES_tradnl" sz="3085">
                <a:latin typeface="Trebuchet MS" panose="020B0603020202020204" pitchFamily="34" charset="0"/>
                <a:cs typeface="+mn-cs"/>
              </a:endParaRPr>
            </a:p>
          </p:txBody>
        </p:sp>
        <p:pic>
          <p:nvPicPr>
            <p:cNvPr id="43" name="Picture 28"/>
            <p:cNvPicPr>
              <a:picLocks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2472" b="-5261"/>
            <a:stretch>
              <a:fillRect/>
            </a:stretch>
          </p:blipFill>
          <p:spPr bwMode="auto">
            <a:xfrm>
              <a:off x="3891831" y="2389801"/>
              <a:ext cx="90488" cy="133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44" name="43 Grupo"/>
          <p:cNvGrpSpPr/>
          <p:nvPr/>
        </p:nvGrpSpPr>
        <p:grpSpPr>
          <a:xfrm>
            <a:off x="4130906" y="1966813"/>
            <a:ext cx="255588" cy="240757"/>
            <a:chOff x="4788024" y="2752500"/>
            <a:chExt cx="255588" cy="240757"/>
          </a:xfrm>
        </p:grpSpPr>
        <p:sp>
          <p:nvSpPr>
            <p:cNvPr id="45" name="AutoShape 17"/>
            <p:cNvSpPr>
              <a:spLocks/>
            </p:cNvSpPr>
            <p:nvPr/>
          </p:nvSpPr>
          <p:spPr bwMode="auto">
            <a:xfrm>
              <a:off x="4788024" y="2752500"/>
              <a:ext cx="255588" cy="240757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glow rad="63500">
                <a:schemeClr val="accent3">
                  <a:satMod val="175000"/>
                  <a:alpha val="40000"/>
                </a:schemeClr>
              </a:glow>
            </a:effectLst>
            <a:scene3d>
              <a:camera prst="orthographicFront"/>
              <a:lightRig rig="threePt" dir="t"/>
            </a:scene3d>
            <a:sp3d>
              <a:bevelT/>
            </a:sp3d>
            <a:extLst/>
          </p:spPr>
          <p:txBody>
            <a:bodyPr lIns="0" tIns="0" rIns="0" bIns="0"/>
            <a:lstStyle>
              <a:lvl1pPr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1pPr>
              <a:lvl2pPr marL="37931725" indent="-37474525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2pPr>
              <a:lvl3pPr marL="11430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3pPr>
              <a:lvl4pPr marL="16002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4pPr>
              <a:lvl5pPr marL="20574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ES_tradnl" sz="3085">
                <a:latin typeface="Trebuchet MS" panose="020B0603020202020204" pitchFamily="34" charset="0"/>
                <a:cs typeface="+mn-cs"/>
              </a:endParaRPr>
            </a:p>
          </p:txBody>
        </p:sp>
        <p:pic>
          <p:nvPicPr>
            <p:cNvPr id="48" name="Picture 30"/>
            <p:cNvPicPr>
              <a:picLocks noChangeArrowheads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6446"/>
            <a:stretch>
              <a:fillRect/>
            </a:stretch>
          </p:blipFill>
          <p:spPr bwMode="auto">
            <a:xfrm>
              <a:off x="4857875" y="2800336"/>
              <a:ext cx="144463" cy="144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50" name="49 Grupo"/>
          <p:cNvGrpSpPr/>
          <p:nvPr/>
        </p:nvGrpSpPr>
        <p:grpSpPr>
          <a:xfrm>
            <a:off x="4130765" y="2254844"/>
            <a:ext cx="255588" cy="240757"/>
            <a:chOff x="3981524" y="3349996"/>
            <a:chExt cx="255588" cy="240757"/>
          </a:xfrm>
        </p:grpSpPr>
        <p:sp>
          <p:nvSpPr>
            <p:cNvPr id="52" name="AutoShape 17"/>
            <p:cNvSpPr>
              <a:spLocks/>
            </p:cNvSpPr>
            <p:nvPr/>
          </p:nvSpPr>
          <p:spPr bwMode="auto">
            <a:xfrm>
              <a:off x="3981524" y="3349996"/>
              <a:ext cx="255588" cy="240757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glow rad="63500">
                <a:schemeClr val="accent3">
                  <a:satMod val="175000"/>
                  <a:alpha val="40000"/>
                </a:schemeClr>
              </a:glow>
            </a:effectLst>
            <a:scene3d>
              <a:camera prst="orthographicFront"/>
              <a:lightRig rig="threePt" dir="t"/>
            </a:scene3d>
            <a:sp3d>
              <a:bevelT/>
            </a:sp3d>
            <a:extLst/>
          </p:spPr>
          <p:txBody>
            <a:bodyPr lIns="0" tIns="0" rIns="0" bIns="0"/>
            <a:lstStyle>
              <a:lvl1pPr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1pPr>
              <a:lvl2pPr marL="37931725" indent="-37474525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2pPr>
              <a:lvl3pPr marL="11430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3pPr>
              <a:lvl4pPr marL="16002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4pPr>
              <a:lvl5pPr marL="20574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ES_tradnl" sz="3085">
                <a:latin typeface="Trebuchet MS" panose="020B0603020202020204" pitchFamily="34" charset="0"/>
                <a:cs typeface="+mn-cs"/>
              </a:endParaRPr>
            </a:p>
          </p:txBody>
        </p:sp>
        <p:pic>
          <p:nvPicPr>
            <p:cNvPr id="53" name="Picture 29"/>
            <p:cNvPicPr>
              <a:picLocks noChangeArrowheads="1"/>
            </p:cNvPicPr>
            <p:nvPr/>
          </p:nvPicPr>
          <p:blipFill>
            <a:blip r:embed="rId5">
              <a:clrChange>
                <a:clrFrom>
                  <a:srgbClr val="FCFFFF"/>
                </a:clrFrom>
                <a:clrTo>
                  <a:srgbClr val="FC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" r="72684" b="-2158"/>
            <a:stretch>
              <a:fillRect/>
            </a:stretch>
          </p:blipFill>
          <p:spPr bwMode="auto">
            <a:xfrm>
              <a:off x="4040089" y="3385442"/>
              <a:ext cx="142875" cy="1698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55" name="54 Grupo"/>
          <p:cNvGrpSpPr/>
          <p:nvPr/>
        </p:nvGrpSpPr>
        <p:grpSpPr>
          <a:xfrm>
            <a:off x="4135669" y="2542877"/>
            <a:ext cx="255588" cy="240757"/>
            <a:chOff x="4775076" y="3470375"/>
            <a:chExt cx="255588" cy="240757"/>
          </a:xfrm>
        </p:grpSpPr>
        <p:sp>
          <p:nvSpPr>
            <p:cNvPr id="56" name="AutoShape 17"/>
            <p:cNvSpPr>
              <a:spLocks/>
            </p:cNvSpPr>
            <p:nvPr/>
          </p:nvSpPr>
          <p:spPr bwMode="auto">
            <a:xfrm>
              <a:off x="4775076" y="3470375"/>
              <a:ext cx="255588" cy="240757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glow rad="63500">
                <a:schemeClr val="accent3">
                  <a:satMod val="175000"/>
                  <a:alpha val="40000"/>
                </a:schemeClr>
              </a:glow>
            </a:effectLst>
            <a:scene3d>
              <a:camera prst="orthographicFront"/>
              <a:lightRig rig="threePt" dir="t"/>
            </a:scene3d>
            <a:sp3d>
              <a:bevelT/>
            </a:sp3d>
            <a:extLst/>
          </p:spPr>
          <p:txBody>
            <a:bodyPr lIns="0" tIns="0" rIns="0" bIns="0"/>
            <a:lstStyle>
              <a:lvl1pPr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1pPr>
              <a:lvl2pPr marL="37931725" indent="-37474525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2pPr>
              <a:lvl3pPr marL="11430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3pPr>
              <a:lvl4pPr marL="16002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4pPr>
              <a:lvl5pPr marL="20574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ES_tradnl" sz="3085">
                <a:latin typeface="Trebuchet MS" panose="020B0603020202020204" pitchFamily="34" charset="0"/>
                <a:cs typeface="+mn-cs"/>
              </a:endParaRPr>
            </a:p>
          </p:txBody>
        </p:sp>
        <p:pic>
          <p:nvPicPr>
            <p:cNvPr id="57" name="Picture 26"/>
            <p:cNvPicPr>
              <a:picLocks noChangeArrowheads="1"/>
            </p:cNvPicPr>
            <p:nvPr/>
          </p:nvPicPr>
          <p:blipFill>
            <a:blip r:embed="rId6">
              <a:clrChange>
                <a:clrFrom>
                  <a:srgbClr val="FAFFFC"/>
                </a:clrFrom>
                <a:clrTo>
                  <a:srgbClr val="FAFF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0000"/>
            <a:stretch>
              <a:fillRect/>
            </a:stretch>
          </p:blipFill>
          <p:spPr bwMode="auto">
            <a:xfrm>
              <a:off x="4833270" y="3514552"/>
              <a:ext cx="173832" cy="142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8" name="AutoShape 17"/>
          <p:cNvSpPr>
            <a:spLocks/>
          </p:cNvSpPr>
          <p:nvPr/>
        </p:nvSpPr>
        <p:spPr bwMode="auto">
          <a:xfrm>
            <a:off x="4443564" y="1390749"/>
            <a:ext cx="2726642" cy="242558"/>
          </a:xfrm>
          <a:prstGeom prst="roundRect">
            <a:avLst>
              <a:gd name="adj" fmla="val 18350"/>
            </a:avLst>
          </a:prstGeom>
          <a:solidFill>
            <a:schemeClr val="bg1"/>
          </a:solidFill>
          <a:ln>
            <a:solidFill>
              <a:schemeClr val="tx1"/>
            </a:solidFill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 lIns="0" tIns="0" rIns="0" bIns="0" anchor="ctr"/>
          <a:lstStyle>
            <a:lvl1pPr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1pPr>
            <a:lvl2pPr marL="37931725" indent="-37474525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2pPr>
            <a:lvl3pPr marL="11430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3pPr>
            <a:lvl4pPr marL="16002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4pPr>
            <a:lvl5pPr marL="20574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_tradnl" sz="1000" u="none" dirty="0">
                <a:latin typeface="Trebuchet MS" panose="020B0603020202020204" pitchFamily="34" charset="0"/>
              </a:rPr>
              <a:t>TPN + 550min FM</a:t>
            </a:r>
          </a:p>
        </p:txBody>
      </p:sp>
      <p:sp>
        <p:nvSpPr>
          <p:cNvPr id="59" name="AutoShape 17"/>
          <p:cNvSpPr>
            <a:spLocks/>
          </p:cNvSpPr>
          <p:nvPr/>
        </p:nvSpPr>
        <p:spPr bwMode="auto">
          <a:xfrm>
            <a:off x="4443564" y="1678781"/>
            <a:ext cx="2726642" cy="240757"/>
          </a:xfrm>
          <a:prstGeom prst="roundRect">
            <a:avLst>
              <a:gd name="adj" fmla="val 18350"/>
            </a:avLst>
          </a:prstGeom>
          <a:solidFill>
            <a:schemeClr val="bg1"/>
          </a:solidFill>
          <a:ln>
            <a:solidFill>
              <a:schemeClr val="tx1"/>
            </a:solidFill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 lIns="0" tIns="0" rIns="0" bIns="0" anchor="ctr"/>
          <a:lstStyle>
            <a:lvl1pPr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1pPr>
            <a:lvl2pPr marL="37931725" indent="-37474525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2pPr>
            <a:lvl3pPr marL="11430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3pPr>
            <a:lvl4pPr marL="16002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4pPr>
            <a:lvl5pPr marL="20574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_tradnl" sz="1000" u="none" dirty="0">
                <a:latin typeface="Trebuchet MS" panose="020B0603020202020204" pitchFamily="34" charset="0"/>
              </a:rPr>
              <a:t>Ilimitada</a:t>
            </a:r>
          </a:p>
        </p:txBody>
      </p:sp>
      <p:sp>
        <p:nvSpPr>
          <p:cNvPr id="60" name="AutoShape 17"/>
          <p:cNvSpPr>
            <a:spLocks/>
          </p:cNvSpPr>
          <p:nvPr/>
        </p:nvSpPr>
        <p:spPr bwMode="auto">
          <a:xfrm>
            <a:off x="4443564" y="1966813"/>
            <a:ext cx="2726642" cy="243021"/>
          </a:xfrm>
          <a:prstGeom prst="roundRect">
            <a:avLst>
              <a:gd name="adj" fmla="val 18350"/>
            </a:avLst>
          </a:prstGeom>
          <a:solidFill>
            <a:schemeClr val="bg1"/>
          </a:solidFill>
          <a:ln>
            <a:solidFill>
              <a:schemeClr val="tx1"/>
            </a:solidFill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 lIns="0" tIns="0" rIns="0" bIns="0" anchor="ctr"/>
          <a:lstStyle>
            <a:lvl1pPr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1pPr>
            <a:lvl2pPr marL="37931725" indent="-37474525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2pPr>
            <a:lvl3pPr marL="11430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3pPr>
            <a:lvl4pPr marL="16002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4pPr>
            <a:lvl5pPr marL="20574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_tradnl" sz="1000" u="none" dirty="0">
                <a:latin typeface="Trebuchet MS" panose="020B0603020202020204" pitchFamily="34" charset="0"/>
              </a:rPr>
              <a:t>1 GB</a:t>
            </a:r>
          </a:p>
        </p:txBody>
      </p:sp>
      <p:sp>
        <p:nvSpPr>
          <p:cNvPr id="61" name="AutoShape 17"/>
          <p:cNvSpPr>
            <a:spLocks/>
          </p:cNvSpPr>
          <p:nvPr/>
        </p:nvSpPr>
        <p:spPr bwMode="auto">
          <a:xfrm>
            <a:off x="4443564" y="2254845"/>
            <a:ext cx="2726642" cy="243021"/>
          </a:xfrm>
          <a:prstGeom prst="roundRect">
            <a:avLst>
              <a:gd name="adj" fmla="val 18350"/>
            </a:avLst>
          </a:prstGeom>
          <a:solidFill>
            <a:schemeClr val="bg1"/>
          </a:solidFill>
          <a:ln>
            <a:solidFill>
              <a:schemeClr val="tx1"/>
            </a:solidFill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 lIns="0" tIns="0" rIns="0" bIns="0" anchor="ctr"/>
          <a:lstStyle>
            <a:lvl1pPr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1pPr>
            <a:lvl2pPr marL="37931725" indent="-37474525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2pPr>
            <a:lvl3pPr marL="11430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3pPr>
            <a:lvl4pPr marL="16002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4pPr>
            <a:lvl5pPr marL="20574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_tradnl" sz="1000" u="none" dirty="0" smtClean="0">
                <a:latin typeface="Trebuchet MS" panose="020B0603020202020204" pitchFamily="34" charset="0"/>
                <a:cs typeface="+mn-cs"/>
              </a:rPr>
              <a:t>Hasta 10Mb</a:t>
            </a:r>
            <a:endParaRPr lang="es-ES_tradnl" sz="1000" u="none" dirty="0">
              <a:latin typeface="Trebuchet MS" panose="020B0603020202020204" pitchFamily="34" charset="0"/>
              <a:cs typeface="+mn-cs"/>
            </a:endParaRPr>
          </a:p>
        </p:txBody>
      </p:sp>
      <p:sp>
        <p:nvSpPr>
          <p:cNvPr id="62" name="AutoShape 91"/>
          <p:cNvSpPr>
            <a:spLocks/>
          </p:cNvSpPr>
          <p:nvPr/>
        </p:nvSpPr>
        <p:spPr bwMode="auto">
          <a:xfrm>
            <a:off x="4443564" y="3094552"/>
            <a:ext cx="856619" cy="330384"/>
          </a:xfrm>
          <a:prstGeom prst="roundRect">
            <a:avLst>
              <a:gd name="adj" fmla="val 30809"/>
            </a:avLst>
          </a:prstGeom>
          <a:gradFill flip="none" rotWithShape="1">
            <a:gsLst>
              <a:gs pos="0">
                <a:srgbClr val="003245">
                  <a:shade val="30000"/>
                  <a:satMod val="115000"/>
                </a:srgbClr>
              </a:gs>
              <a:gs pos="50000">
                <a:srgbClr val="003245">
                  <a:shade val="67500"/>
                  <a:satMod val="115000"/>
                </a:srgbClr>
              </a:gs>
              <a:gs pos="100000">
                <a:srgbClr val="003245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glow rad="63500">
              <a:srgbClr val="4BACC6">
                <a:satMod val="175000"/>
                <a:alpha val="40000"/>
              </a:srgbClr>
            </a:glow>
          </a:effectLst>
          <a:extLst/>
        </p:spPr>
        <p:txBody>
          <a:bodyPr lIns="0" tIns="0" rIns="0" bIns="0" anchor="ctr"/>
          <a:lstStyle/>
          <a:p>
            <a:pPr algn="ctr"/>
            <a:r>
              <a:rPr lang="es-ES" sz="1600" b="1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/>
                <a:ea typeface="ヒラギノ角ゴ ProN W3" charset="-128"/>
                <a:cs typeface="Arial" panose="020B0604020202020204" pitchFamily="34" charset="0"/>
              </a:rPr>
              <a:t>60€</a:t>
            </a:r>
            <a:endParaRPr lang="es-ES" sz="1600" b="1" kern="0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rebuchet MS"/>
              <a:ea typeface="ヒラギノ角ゴ ProN W3" charset="-128"/>
              <a:cs typeface="Arial" panose="020B0604020202020204" pitchFamily="34" charset="0"/>
            </a:endParaRPr>
          </a:p>
        </p:txBody>
      </p:sp>
      <p:sp>
        <p:nvSpPr>
          <p:cNvPr id="63" name="62 Rectángulo redondeado"/>
          <p:cNvSpPr/>
          <p:nvPr/>
        </p:nvSpPr>
        <p:spPr bwMode="auto">
          <a:xfrm>
            <a:off x="7458238" y="1321005"/>
            <a:ext cx="1296144" cy="1942804"/>
          </a:xfrm>
          <a:prstGeom prst="roundRect">
            <a:avLst>
              <a:gd name="adj" fmla="val 11446"/>
            </a:avLst>
          </a:prstGeom>
          <a:solidFill>
            <a:schemeClr val="accent1">
              <a:lumMod val="90000"/>
              <a:lumOff val="1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" sz="2000" b="0" i="0" u="none" strike="noStrike" cap="none" normalizeH="0" baseline="0" dirty="0">
              <a:ln>
                <a:noFill/>
              </a:ln>
              <a:solidFill>
                <a:schemeClr val="bg2"/>
              </a:solidFill>
              <a:effectLst/>
              <a:latin typeface="Trebuchet MS" panose="020B0603020202020204" pitchFamily="34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grpSp>
        <p:nvGrpSpPr>
          <p:cNvPr id="64" name="63 Grupo"/>
          <p:cNvGrpSpPr/>
          <p:nvPr/>
        </p:nvGrpSpPr>
        <p:grpSpPr>
          <a:xfrm>
            <a:off x="7505620" y="1393013"/>
            <a:ext cx="255588" cy="240757"/>
            <a:chOff x="3779912" y="1912712"/>
            <a:chExt cx="255588" cy="240757"/>
          </a:xfrm>
        </p:grpSpPr>
        <p:sp>
          <p:nvSpPr>
            <p:cNvPr id="65" name="AutoShape 17"/>
            <p:cNvSpPr>
              <a:spLocks/>
            </p:cNvSpPr>
            <p:nvPr/>
          </p:nvSpPr>
          <p:spPr bwMode="auto">
            <a:xfrm>
              <a:off x="3779912" y="1912712"/>
              <a:ext cx="255588" cy="240757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glow rad="63500">
                <a:schemeClr val="accent3">
                  <a:satMod val="175000"/>
                  <a:alpha val="40000"/>
                </a:schemeClr>
              </a:glow>
            </a:effectLst>
            <a:scene3d>
              <a:camera prst="orthographicFront"/>
              <a:lightRig rig="threePt" dir="t"/>
            </a:scene3d>
            <a:sp3d>
              <a:bevelT/>
            </a:sp3d>
            <a:extLst/>
          </p:spPr>
          <p:txBody>
            <a:bodyPr lIns="0" tIns="0" rIns="0" bIns="0"/>
            <a:lstStyle>
              <a:lvl1pPr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1pPr>
              <a:lvl2pPr marL="37931725" indent="-37474525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2pPr>
              <a:lvl3pPr marL="11430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3pPr>
              <a:lvl4pPr marL="16002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4pPr>
              <a:lvl5pPr marL="20574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ES_tradnl" sz="3085">
                <a:latin typeface="Trebuchet MS" panose="020B0603020202020204" pitchFamily="34" charset="0"/>
                <a:cs typeface="+mn-cs"/>
              </a:endParaRPr>
            </a:p>
          </p:txBody>
        </p:sp>
        <p:pic>
          <p:nvPicPr>
            <p:cNvPr id="66" name="Picture 27"/>
            <p:cNvPicPr>
              <a:picLocks noChangeArrowheads="1"/>
            </p:cNvPicPr>
            <p:nvPr/>
          </p:nvPicPr>
          <p:blipFill>
            <a:blip r:embed="rId2">
              <a:clrChange>
                <a:clrFrom>
                  <a:srgbClr val="FCFFFD"/>
                </a:clrFrom>
                <a:clrTo>
                  <a:srgbClr val="FCFFFD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2" r="75841" b="-21532"/>
            <a:stretch>
              <a:fillRect/>
            </a:stretch>
          </p:blipFill>
          <p:spPr bwMode="auto">
            <a:xfrm>
              <a:off x="3845001" y="1974626"/>
              <a:ext cx="144462" cy="146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67" name="66 Grupo"/>
          <p:cNvGrpSpPr/>
          <p:nvPr/>
        </p:nvGrpSpPr>
        <p:grpSpPr>
          <a:xfrm>
            <a:off x="7505620" y="1681045"/>
            <a:ext cx="255588" cy="240757"/>
            <a:chOff x="3804518" y="2336098"/>
            <a:chExt cx="255588" cy="240757"/>
          </a:xfrm>
        </p:grpSpPr>
        <p:sp>
          <p:nvSpPr>
            <p:cNvPr id="68" name="AutoShape 17"/>
            <p:cNvSpPr>
              <a:spLocks/>
            </p:cNvSpPr>
            <p:nvPr/>
          </p:nvSpPr>
          <p:spPr bwMode="auto">
            <a:xfrm>
              <a:off x="3804518" y="2336098"/>
              <a:ext cx="255588" cy="240757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glow rad="63500">
                <a:schemeClr val="accent3">
                  <a:satMod val="175000"/>
                  <a:alpha val="40000"/>
                </a:schemeClr>
              </a:glow>
            </a:effectLst>
            <a:scene3d>
              <a:camera prst="orthographicFront"/>
              <a:lightRig rig="threePt" dir="t"/>
            </a:scene3d>
            <a:sp3d>
              <a:bevelT/>
            </a:sp3d>
            <a:extLst/>
          </p:spPr>
          <p:txBody>
            <a:bodyPr lIns="0" tIns="0" rIns="0" bIns="0"/>
            <a:lstStyle>
              <a:lvl1pPr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1pPr>
              <a:lvl2pPr marL="37931725" indent="-37474525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2pPr>
              <a:lvl3pPr marL="11430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3pPr>
              <a:lvl4pPr marL="16002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4pPr>
              <a:lvl5pPr marL="20574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ES_tradnl" sz="3085">
                <a:latin typeface="Trebuchet MS" panose="020B0603020202020204" pitchFamily="34" charset="0"/>
                <a:cs typeface="+mn-cs"/>
              </a:endParaRPr>
            </a:p>
          </p:txBody>
        </p:sp>
        <p:pic>
          <p:nvPicPr>
            <p:cNvPr id="69" name="Picture 28"/>
            <p:cNvPicPr>
              <a:picLocks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2472" b="-5261"/>
            <a:stretch>
              <a:fillRect/>
            </a:stretch>
          </p:blipFill>
          <p:spPr bwMode="auto">
            <a:xfrm>
              <a:off x="3891831" y="2389801"/>
              <a:ext cx="90488" cy="133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0" name="69 Grupo"/>
          <p:cNvGrpSpPr/>
          <p:nvPr/>
        </p:nvGrpSpPr>
        <p:grpSpPr>
          <a:xfrm>
            <a:off x="7505620" y="1969077"/>
            <a:ext cx="255588" cy="240757"/>
            <a:chOff x="4788024" y="2752500"/>
            <a:chExt cx="255588" cy="240757"/>
          </a:xfrm>
        </p:grpSpPr>
        <p:sp>
          <p:nvSpPr>
            <p:cNvPr id="71" name="AutoShape 17"/>
            <p:cNvSpPr>
              <a:spLocks/>
            </p:cNvSpPr>
            <p:nvPr/>
          </p:nvSpPr>
          <p:spPr bwMode="auto">
            <a:xfrm>
              <a:off x="4788024" y="2752500"/>
              <a:ext cx="255588" cy="240757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glow rad="63500">
                <a:schemeClr val="accent3">
                  <a:satMod val="175000"/>
                  <a:alpha val="40000"/>
                </a:schemeClr>
              </a:glow>
            </a:effectLst>
            <a:scene3d>
              <a:camera prst="orthographicFront"/>
              <a:lightRig rig="threePt" dir="t"/>
            </a:scene3d>
            <a:sp3d>
              <a:bevelT/>
            </a:sp3d>
            <a:extLst/>
          </p:spPr>
          <p:txBody>
            <a:bodyPr lIns="0" tIns="0" rIns="0" bIns="0"/>
            <a:lstStyle>
              <a:lvl1pPr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1pPr>
              <a:lvl2pPr marL="37931725" indent="-37474525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2pPr>
              <a:lvl3pPr marL="11430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3pPr>
              <a:lvl4pPr marL="16002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4pPr>
              <a:lvl5pPr marL="20574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ES_tradnl" sz="3085">
                <a:latin typeface="Trebuchet MS" panose="020B0603020202020204" pitchFamily="34" charset="0"/>
                <a:cs typeface="+mn-cs"/>
              </a:endParaRPr>
            </a:p>
          </p:txBody>
        </p:sp>
        <p:pic>
          <p:nvPicPr>
            <p:cNvPr id="72" name="Picture 30"/>
            <p:cNvPicPr>
              <a:picLocks noChangeArrowheads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6446"/>
            <a:stretch>
              <a:fillRect/>
            </a:stretch>
          </p:blipFill>
          <p:spPr bwMode="auto">
            <a:xfrm>
              <a:off x="4857875" y="2800336"/>
              <a:ext cx="144463" cy="144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3" name="72 Grupo"/>
          <p:cNvGrpSpPr/>
          <p:nvPr/>
        </p:nvGrpSpPr>
        <p:grpSpPr>
          <a:xfrm>
            <a:off x="7505479" y="2257108"/>
            <a:ext cx="255588" cy="240757"/>
            <a:chOff x="3981524" y="3349996"/>
            <a:chExt cx="255588" cy="240757"/>
          </a:xfrm>
        </p:grpSpPr>
        <p:sp>
          <p:nvSpPr>
            <p:cNvPr id="74" name="AutoShape 17"/>
            <p:cNvSpPr>
              <a:spLocks/>
            </p:cNvSpPr>
            <p:nvPr/>
          </p:nvSpPr>
          <p:spPr bwMode="auto">
            <a:xfrm>
              <a:off x="3981524" y="3349996"/>
              <a:ext cx="255588" cy="240757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glow rad="63500">
                <a:schemeClr val="accent3">
                  <a:satMod val="175000"/>
                  <a:alpha val="40000"/>
                </a:schemeClr>
              </a:glow>
            </a:effectLst>
            <a:scene3d>
              <a:camera prst="orthographicFront"/>
              <a:lightRig rig="threePt" dir="t"/>
            </a:scene3d>
            <a:sp3d>
              <a:bevelT/>
            </a:sp3d>
            <a:extLst/>
          </p:spPr>
          <p:txBody>
            <a:bodyPr lIns="0" tIns="0" rIns="0" bIns="0"/>
            <a:lstStyle>
              <a:lvl1pPr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1pPr>
              <a:lvl2pPr marL="37931725" indent="-37474525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2pPr>
              <a:lvl3pPr marL="11430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3pPr>
              <a:lvl4pPr marL="16002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4pPr>
              <a:lvl5pPr marL="20574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ES_tradnl" sz="3085">
                <a:latin typeface="Trebuchet MS" panose="020B0603020202020204" pitchFamily="34" charset="0"/>
                <a:cs typeface="+mn-cs"/>
              </a:endParaRPr>
            </a:p>
          </p:txBody>
        </p:sp>
        <p:pic>
          <p:nvPicPr>
            <p:cNvPr id="75" name="Picture 29"/>
            <p:cNvPicPr>
              <a:picLocks noChangeArrowheads="1"/>
            </p:cNvPicPr>
            <p:nvPr/>
          </p:nvPicPr>
          <p:blipFill>
            <a:blip r:embed="rId5">
              <a:clrChange>
                <a:clrFrom>
                  <a:srgbClr val="FCFFFF"/>
                </a:clrFrom>
                <a:clrTo>
                  <a:srgbClr val="FC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" r="72684" b="-2158"/>
            <a:stretch>
              <a:fillRect/>
            </a:stretch>
          </p:blipFill>
          <p:spPr bwMode="auto">
            <a:xfrm>
              <a:off x="4040089" y="3385442"/>
              <a:ext cx="142875" cy="1698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6" name="75 Grupo"/>
          <p:cNvGrpSpPr/>
          <p:nvPr/>
        </p:nvGrpSpPr>
        <p:grpSpPr>
          <a:xfrm>
            <a:off x="7510383" y="2545141"/>
            <a:ext cx="255588" cy="240757"/>
            <a:chOff x="4775076" y="3470375"/>
            <a:chExt cx="255588" cy="240757"/>
          </a:xfrm>
        </p:grpSpPr>
        <p:sp>
          <p:nvSpPr>
            <p:cNvPr id="77" name="AutoShape 17"/>
            <p:cNvSpPr>
              <a:spLocks/>
            </p:cNvSpPr>
            <p:nvPr/>
          </p:nvSpPr>
          <p:spPr bwMode="auto">
            <a:xfrm>
              <a:off x="4775076" y="3470375"/>
              <a:ext cx="255588" cy="240757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glow rad="63500">
                <a:schemeClr val="accent3">
                  <a:satMod val="175000"/>
                  <a:alpha val="40000"/>
                </a:schemeClr>
              </a:glow>
            </a:effectLst>
            <a:scene3d>
              <a:camera prst="orthographicFront"/>
              <a:lightRig rig="threePt" dir="t"/>
            </a:scene3d>
            <a:sp3d>
              <a:bevelT/>
            </a:sp3d>
            <a:extLst/>
          </p:spPr>
          <p:txBody>
            <a:bodyPr lIns="0" tIns="0" rIns="0" bIns="0"/>
            <a:lstStyle>
              <a:lvl1pPr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1pPr>
              <a:lvl2pPr marL="37931725" indent="-37474525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2pPr>
              <a:lvl3pPr marL="11430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3pPr>
              <a:lvl4pPr marL="16002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4pPr>
              <a:lvl5pPr marL="20574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ES_tradnl" sz="3085">
                <a:latin typeface="Trebuchet MS" panose="020B0603020202020204" pitchFamily="34" charset="0"/>
                <a:cs typeface="+mn-cs"/>
              </a:endParaRPr>
            </a:p>
          </p:txBody>
        </p:sp>
        <p:pic>
          <p:nvPicPr>
            <p:cNvPr id="78" name="Picture 26"/>
            <p:cNvPicPr>
              <a:picLocks noChangeArrowheads="1"/>
            </p:cNvPicPr>
            <p:nvPr/>
          </p:nvPicPr>
          <p:blipFill>
            <a:blip r:embed="rId6">
              <a:clrChange>
                <a:clrFrom>
                  <a:srgbClr val="FAFFFC"/>
                </a:clrFrom>
                <a:clrTo>
                  <a:srgbClr val="FAFF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0000"/>
            <a:stretch>
              <a:fillRect/>
            </a:stretch>
          </p:blipFill>
          <p:spPr bwMode="auto">
            <a:xfrm>
              <a:off x="4833270" y="3514552"/>
              <a:ext cx="173832" cy="142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79" name="AutoShape 17"/>
          <p:cNvSpPr>
            <a:spLocks/>
          </p:cNvSpPr>
          <p:nvPr/>
        </p:nvSpPr>
        <p:spPr bwMode="auto">
          <a:xfrm>
            <a:off x="7818278" y="1393013"/>
            <a:ext cx="864096" cy="240757"/>
          </a:xfrm>
          <a:prstGeom prst="roundRect">
            <a:avLst>
              <a:gd name="adj" fmla="val 18350"/>
            </a:avLst>
          </a:prstGeom>
          <a:solidFill>
            <a:schemeClr val="bg1"/>
          </a:solidFill>
          <a:ln>
            <a:solidFill>
              <a:schemeClr val="tx1"/>
            </a:solidFill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 lIns="0" tIns="0" rIns="0" bIns="0" anchor="ctr"/>
          <a:lstStyle>
            <a:lvl1pPr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1pPr>
            <a:lvl2pPr marL="37931725" indent="-37474525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2pPr>
            <a:lvl3pPr marL="11430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3pPr>
            <a:lvl4pPr marL="16002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4pPr>
            <a:lvl5pPr marL="20574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_tradnl" sz="800" u="none" dirty="0">
                <a:latin typeface="Trebuchet MS" panose="020B0603020202020204" pitchFamily="34" charset="0"/>
              </a:rPr>
              <a:t>TPN + 550min FM</a:t>
            </a:r>
          </a:p>
        </p:txBody>
      </p:sp>
      <p:sp>
        <p:nvSpPr>
          <p:cNvPr id="80" name="AutoShape 17"/>
          <p:cNvSpPr>
            <a:spLocks/>
          </p:cNvSpPr>
          <p:nvPr/>
        </p:nvSpPr>
        <p:spPr bwMode="auto">
          <a:xfrm>
            <a:off x="7818278" y="1681045"/>
            <a:ext cx="864096" cy="240757"/>
          </a:xfrm>
          <a:prstGeom prst="roundRect">
            <a:avLst>
              <a:gd name="adj" fmla="val 18350"/>
            </a:avLst>
          </a:prstGeom>
          <a:solidFill>
            <a:schemeClr val="bg1"/>
          </a:solidFill>
          <a:ln>
            <a:solidFill>
              <a:schemeClr val="tx1"/>
            </a:solidFill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 lIns="0" tIns="0" rIns="0" bIns="0" anchor="ctr"/>
          <a:lstStyle>
            <a:lvl1pPr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1pPr>
            <a:lvl2pPr marL="37931725" indent="-37474525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2pPr>
            <a:lvl3pPr marL="11430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3pPr>
            <a:lvl4pPr marL="16002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4pPr>
            <a:lvl5pPr marL="20574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_tradnl" sz="1000" u="none" dirty="0">
                <a:latin typeface="Trebuchet MS" panose="020B0603020202020204" pitchFamily="34" charset="0"/>
              </a:rPr>
              <a:t>Ilimitada</a:t>
            </a:r>
          </a:p>
        </p:txBody>
      </p:sp>
      <p:sp>
        <p:nvSpPr>
          <p:cNvPr id="81" name="AutoShape 17"/>
          <p:cNvSpPr>
            <a:spLocks/>
          </p:cNvSpPr>
          <p:nvPr/>
        </p:nvSpPr>
        <p:spPr bwMode="auto">
          <a:xfrm>
            <a:off x="7818278" y="1969077"/>
            <a:ext cx="864096" cy="240757"/>
          </a:xfrm>
          <a:prstGeom prst="roundRect">
            <a:avLst>
              <a:gd name="adj" fmla="val 18350"/>
            </a:avLst>
          </a:prstGeom>
          <a:solidFill>
            <a:schemeClr val="bg1"/>
          </a:solidFill>
          <a:ln>
            <a:solidFill>
              <a:schemeClr val="tx1"/>
            </a:solidFill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 lIns="0" tIns="0" rIns="0" bIns="0" anchor="ctr"/>
          <a:lstStyle>
            <a:lvl1pPr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1pPr>
            <a:lvl2pPr marL="37931725" indent="-37474525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2pPr>
            <a:lvl3pPr marL="11430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3pPr>
            <a:lvl4pPr marL="16002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4pPr>
            <a:lvl5pPr marL="20574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_tradnl" sz="1000" u="none" dirty="0">
                <a:latin typeface="Trebuchet MS" panose="020B0603020202020204" pitchFamily="34" charset="0"/>
              </a:rPr>
              <a:t>1 GB</a:t>
            </a:r>
          </a:p>
        </p:txBody>
      </p:sp>
      <p:sp>
        <p:nvSpPr>
          <p:cNvPr id="82" name="AutoShape 17"/>
          <p:cNvSpPr>
            <a:spLocks/>
          </p:cNvSpPr>
          <p:nvPr/>
        </p:nvSpPr>
        <p:spPr bwMode="auto">
          <a:xfrm>
            <a:off x="7818278" y="2257109"/>
            <a:ext cx="864096" cy="240757"/>
          </a:xfrm>
          <a:prstGeom prst="roundRect">
            <a:avLst>
              <a:gd name="adj" fmla="val 18350"/>
            </a:avLst>
          </a:prstGeom>
          <a:solidFill>
            <a:schemeClr val="bg1"/>
          </a:solidFill>
          <a:ln>
            <a:solidFill>
              <a:schemeClr val="tx1"/>
            </a:solidFill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 lIns="0" tIns="0" rIns="0" bIns="0" anchor="ctr"/>
          <a:lstStyle>
            <a:lvl1pPr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1pPr>
            <a:lvl2pPr marL="37931725" indent="-37474525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2pPr>
            <a:lvl3pPr marL="11430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3pPr>
            <a:lvl4pPr marL="16002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4pPr>
            <a:lvl5pPr marL="20574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_tradnl" sz="1000" u="none" dirty="0" smtClean="0">
                <a:latin typeface="Trebuchet MS" panose="020B0603020202020204" pitchFamily="34" charset="0"/>
                <a:cs typeface="+mn-cs"/>
              </a:rPr>
              <a:t>Hasta 10Mb</a:t>
            </a:r>
            <a:endParaRPr lang="es-ES_tradnl" sz="1000" u="none" dirty="0">
              <a:latin typeface="Trebuchet MS" panose="020B0603020202020204" pitchFamily="34" charset="0"/>
              <a:cs typeface="+mn-cs"/>
            </a:endParaRPr>
          </a:p>
        </p:txBody>
      </p:sp>
      <p:sp>
        <p:nvSpPr>
          <p:cNvPr id="83" name="AutoShape 17"/>
          <p:cNvSpPr>
            <a:spLocks/>
          </p:cNvSpPr>
          <p:nvPr/>
        </p:nvSpPr>
        <p:spPr bwMode="auto">
          <a:xfrm>
            <a:off x="7818278" y="2545142"/>
            <a:ext cx="864096" cy="505856"/>
          </a:xfrm>
          <a:prstGeom prst="roundRect">
            <a:avLst>
              <a:gd name="adj" fmla="val 18350"/>
            </a:avLst>
          </a:prstGeom>
          <a:solidFill>
            <a:schemeClr val="bg1"/>
          </a:solidFill>
          <a:ln>
            <a:solidFill>
              <a:schemeClr val="tx1"/>
            </a:solidFill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 lIns="0" tIns="0" rIns="0" bIns="0" anchor="ctr"/>
          <a:lstStyle>
            <a:lvl1pPr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1pPr>
            <a:lvl2pPr marL="37931725" indent="-37474525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2pPr>
            <a:lvl3pPr marL="11430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3pPr>
            <a:lvl4pPr marL="16002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4pPr>
            <a:lvl5pPr marL="20574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_tradnl" sz="1400" b="1" u="none" dirty="0" smtClean="0">
                <a:solidFill>
                  <a:srgbClr val="003245"/>
                </a:solidFill>
                <a:latin typeface="Trebuchet MS" panose="020B0603020202020204" pitchFamily="34" charset="0"/>
                <a:ea typeface="ヒラギノ角ゴ ProN W3"/>
              </a:rPr>
              <a:t>Total</a:t>
            </a:r>
          </a:p>
          <a:p>
            <a:pPr lvl="0">
              <a:defRPr/>
            </a:pPr>
            <a:r>
              <a:rPr lang="es-ES_tradnl" sz="800" u="none" dirty="0">
                <a:solidFill>
                  <a:srgbClr val="003245"/>
                </a:solidFill>
                <a:latin typeface="Trebuchet MS" panose="020B0603020202020204" pitchFamily="34" charset="0"/>
                <a:ea typeface="ヒラギノ角ゴ ProN W3"/>
              </a:rPr>
              <a:t>Grabaciones</a:t>
            </a:r>
          </a:p>
          <a:p>
            <a:pPr lvl="0">
              <a:defRPr/>
            </a:pPr>
            <a:r>
              <a:rPr lang="es-ES_tradnl" sz="800" u="none" dirty="0" smtClean="0">
                <a:solidFill>
                  <a:srgbClr val="003245"/>
                </a:solidFill>
                <a:latin typeface="Trebuchet MS" panose="020B0603020202020204" pitchFamily="34" charset="0"/>
                <a:ea typeface="ヒラギノ角ゴ ProN W3"/>
              </a:rPr>
              <a:t>Multipantallla</a:t>
            </a:r>
            <a:endParaRPr lang="es-ES_tradnl" sz="800" u="none" dirty="0">
              <a:solidFill>
                <a:srgbClr val="003245"/>
              </a:solidFill>
              <a:latin typeface="Trebuchet MS" panose="020B0603020202020204" pitchFamily="34" charset="0"/>
              <a:ea typeface="ヒラギノ角ゴ ProN W3"/>
            </a:endParaRPr>
          </a:p>
        </p:txBody>
      </p:sp>
      <p:sp>
        <p:nvSpPr>
          <p:cNvPr id="84" name="AutoShape 91"/>
          <p:cNvSpPr>
            <a:spLocks/>
          </p:cNvSpPr>
          <p:nvPr/>
        </p:nvSpPr>
        <p:spPr bwMode="auto">
          <a:xfrm>
            <a:off x="7633414" y="3096816"/>
            <a:ext cx="976952" cy="330384"/>
          </a:xfrm>
          <a:prstGeom prst="roundRect">
            <a:avLst>
              <a:gd name="adj" fmla="val 30809"/>
            </a:avLst>
          </a:prstGeom>
          <a:gradFill flip="none" rotWithShape="1">
            <a:gsLst>
              <a:gs pos="0">
                <a:srgbClr val="003245">
                  <a:shade val="30000"/>
                  <a:satMod val="115000"/>
                </a:srgbClr>
              </a:gs>
              <a:gs pos="50000">
                <a:srgbClr val="003245">
                  <a:shade val="67500"/>
                  <a:satMod val="115000"/>
                </a:srgbClr>
              </a:gs>
              <a:gs pos="100000">
                <a:srgbClr val="003245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glow rad="63500">
              <a:srgbClr val="4BACC6">
                <a:satMod val="175000"/>
                <a:alpha val="40000"/>
              </a:srgbClr>
            </a:glow>
          </a:effectLst>
          <a:extLst/>
        </p:spPr>
        <p:txBody>
          <a:bodyPr lIns="0" tIns="0" rIns="0" bIns="0" anchor="ctr"/>
          <a:lstStyle/>
          <a:p>
            <a:pPr algn="ctr"/>
            <a:r>
              <a:rPr lang="es-ES" sz="1600" b="1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/>
                <a:ea typeface="ヒラギノ角ゴ ProN W3" charset="-128"/>
                <a:cs typeface="Arial" panose="020B0604020202020204" pitchFamily="34" charset="0"/>
              </a:rPr>
              <a:t>95€</a:t>
            </a:r>
            <a:endParaRPr lang="es-ES" sz="1600" b="1" kern="0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rebuchet MS"/>
              <a:ea typeface="ヒラギノ角ゴ ProN W3" charset="-128"/>
              <a:cs typeface="Arial" panose="020B0604020202020204" pitchFamily="34" charset="0"/>
            </a:endParaRPr>
          </a:p>
        </p:txBody>
      </p:sp>
      <p:grpSp>
        <p:nvGrpSpPr>
          <p:cNvPr id="85" name="84 Grupo"/>
          <p:cNvGrpSpPr/>
          <p:nvPr/>
        </p:nvGrpSpPr>
        <p:grpSpPr>
          <a:xfrm>
            <a:off x="2301275" y="1513129"/>
            <a:ext cx="1296144" cy="1914561"/>
            <a:chOff x="1619672" y="1700808"/>
            <a:chExt cx="1296144" cy="1914561"/>
          </a:xfrm>
        </p:grpSpPr>
        <p:sp>
          <p:nvSpPr>
            <p:cNvPr id="86" name="85 Rectángulo redondeado"/>
            <p:cNvSpPr/>
            <p:nvPr/>
          </p:nvSpPr>
          <p:spPr bwMode="auto">
            <a:xfrm>
              <a:off x="1619672" y="1700808"/>
              <a:ext cx="1296144" cy="1762624"/>
            </a:xfrm>
            <a:prstGeom prst="roundRect">
              <a:avLst>
                <a:gd name="adj" fmla="val 11446"/>
              </a:avLst>
            </a:prstGeom>
            <a:solidFill>
              <a:schemeClr val="accent1">
                <a:lumMod val="90000"/>
                <a:lumOff val="10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ES" sz="2000" b="0" i="0" u="none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rebuchet MS" panose="020B0603020202020204" pitchFamily="34" charset="0"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  <p:grpSp>
          <p:nvGrpSpPr>
            <p:cNvPr id="87" name="86 Grupo"/>
            <p:cNvGrpSpPr/>
            <p:nvPr/>
          </p:nvGrpSpPr>
          <p:grpSpPr>
            <a:xfrm>
              <a:off x="1667054" y="1772816"/>
              <a:ext cx="255588" cy="240757"/>
              <a:chOff x="3779912" y="1912712"/>
              <a:chExt cx="255588" cy="240757"/>
            </a:xfrm>
          </p:grpSpPr>
          <p:sp>
            <p:nvSpPr>
              <p:cNvPr id="106" name="AutoShape 17"/>
              <p:cNvSpPr>
                <a:spLocks/>
              </p:cNvSpPr>
              <p:nvPr/>
            </p:nvSpPr>
            <p:spPr bwMode="auto">
              <a:xfrm>
                <a:off x="3779912" y="1912712"/>
                <a:ext cx="255588" cy="240757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  <a:effectLst>
                <a:glow rad="63500">
                  <a:schemeClr val="accent3">
                    <a:satMod val="175000"/>
                    <a:alpha val="40000"/>
                  </a:schemeClr>
                </a:glow>
              </a:effectLst>
              <a:scene3d>
                <a:camera prst="orthographicFront"/>
                <a:lightRig rig="threePt" dir="t"/>
              </a:scene3d>
              <a:sp3d>
                <a:bevelT/>
              </a:sp3d>
              <a:extLst/>
            </p:spPr>
            <p:txBody>
              <a:bodyPr lIns="0" tIns="0" rIns="0" bIns="0"/>
              <a:lstStyle>
                <a:lvl1pPr algn="ctr"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1pPr>
                <a:lvl2pPr marL="37931725" indent="-37474525" algn="ctr"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2pPr>
                <a:lvl3pPr marL="1143000" indent="-228600" algn="ctr"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3pPr>
                <a:lvl4pPr marL="1600200" indent="-228600" algn="ctr"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4pPr>
                <a:lvl5pPr marL="2057400" indent="-228600" algn="ctr"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sz="3085">
                  <a:latin typeface="Trebuchet MS" panose="020B0603020202020204" pitchFamily="34" charset="0"/>
                  <a:cs typeface="+mn-cs"/>
                </a:endParaRPr>
              </a:p>
            </p:txBody>
          </p:sp>
          <p:pic>
            <p:nvPicPr>
              <p:cNvPr id="107" name="Picture 27"/>
              <p:cNvPicPr>
                <a:picLocks noChangeArrowheads="1"/>
              </p:cNvPicPr>
              <p:nvPr/>
            </p:nvPicPr>
            <p:blipFill>
              <a:blip r:embed="rId2">
                <a:clrChange>
                  <a:clrFrom>
                    <a:srgbClr val="FCFFFD"/>
                  </a:clrFrom>
                  <a:clrTo>
                    <a:srgbClr val="FCFFFD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-2" r="75841" b="-21532"/>
              <a:stretch>
                <a:fillRect/>
              </a:stretch>
            </p:blipFill>
            <p:spPr bwMode="auto">
              <a:xfrm>
                <a:off x="3845001" y="1974626"/>
                <a:ext cx="144462" cy="1460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88" name="87 Grupo"/>
            <p:cNvGrpSpPr/>
            <p:nvPr/>
          </p:nvGrpSpPr>
          <p:grpSpPr>
            <a:xfrm>
              <a:off x="1667054" y="2060848"/>
              <a:ext cx="255588" cy="240757"/>
              <a:chOff x="3804518" y="2336098"/>
              <a:chExt cx="255588" cy="240757"/>
            </a:xfrm>
          </p:grpSpPr>
          <p:sp>
            <p:nvSpPr>
              <p:cNvPr id="104" name="AutoShape 17"/>
              <p:cNvSpPr>
                <a:spLocks/>
              </p:cNvSpPr>
              <p:nvPr/>
            </p:nvSpPr>
            <p:spPr bwMode="auto">
              <a:xfrm>
                <a:off x="3804518" y="2336098"/>
                <a:ext cx="255588" cy="240757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  <a:effectLst>
                <a:glow rad="63500">
                  <a:schemeClr val="accent3">
                    <a:satMod val="175000"/>
                    <a:alpha val="40000"/>
                  </a:schemeClr>
                </a:glow>
              </a:effectLst>
              <a:scene3d>
                <a:camera prst="orthographicFront"/>
                <a:lightRig rig="threePt" dir="t"/>
              </a:scene3d>
              <a:sp3d>
                <a:bevelT/>
              </a:sp3d>
              <a:extLst/>
            </p:spPr>
            <p:txBody>
              <a:bodyPr lIns="0" tIns="0" rIns="0" bIns="0"/>
              <a:lstStyle>
                <a:lvl1pPr algn="ctr"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1pPr>
                <a:lvl2pPr marL="37931725" indent="-37474525" algn="ctr"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2pPr>
                <a:lvl3pPr marL="1143000" indent="-228600" algn="ctr"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3pPr>
                <a:lvl4pPr marL="1600200" indent="-228600" algn="ctr"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4pPr>
                <a:lvl5pPr marL="2057400" indent="-228600" algn="ctr"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sz="3085">
                  <a:latin typeface="Trebuchet MS" panose="020B0603020202020204" pitchFamily="34" charset="0"/>
                  <a:cs typeface="+mn-cs"/>
                </a:endParaRPr>
              </a:p>
            </p:txBody>
          </p:sp>
          <p:pic>
            <p:nvPicPr>
              <p:cNvPr id="105" name="Picture 28"/>
              <p:cNvPicPr>
                <a:picLocks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82472" b="-5261"/>
              <a:stretch>
                <a:fillRect/>
              </a:stretch>
            </p:blipFill>
            <p:spPr bwMode="auto">
              <a:xfrm>
                <a:off x="3891831" y="2389801"/>
                <a:ext cx="90488" cy="1333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89" name="88 Grupo"/>
            <p:cNvGrpSpPr/>
            <p:nvPr/>
          </p:nvGrpSpPr>
          <p:grpSpPr>
            <a:xfrm>
              <a:off x="1667054" y="2348880"/>
              <a:ext cx="255588" cy="240757"/>
              <a:chOff x="4788024" y="2752500"/>
              <a:chExt cx="255588" cy="240757"/>
            </a:xfrm>
          </p:grpSpPr>
          <p:sp>
            <p:nvSpPr>
              <p:cNvPr id="102" name="AutoShape 17"/>
              <p:cNvSpPr>
                <a:spLocks/>
              </p:cNvSpPr>
              <p:nvPr/>
            </p:nvSpPr>
            <p:spPr bwMode="auto">
              <a:xfrm>
                <a:off x="4788024" y="2752500"/>
                <a:ext cx="255588" cy="240757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  <a:effectLst>
                <a:glow rad="63500">
                  <a:schemeClr val="accent3">
                    <a:satMod val="175000"/>
                    <a:alpha val="40000"/>
                  </a:schemeClr>
                </a:glow>
              </a:effectLst>
              <a:scene3d>
                <a:camera prst="orthographicFront"/>
                <a:lightRig rig="threePt" dir="t"/>
              </a:scene3d>
              <a:sp3d>
                <a:bevelT/>
              </a:sp3d>
              <a:extLst/>
            </p:spPr>
            <p:txBody>
              <a:bodyPr lIns="0" tIns="0" rIns="0" bIns="0"/>
              <a:lstStyle>
                <a:lvl1pPr algn="ctr"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1pPr>
                <a:lvl2pPr marL="37931725" indent="-37474525" algn="ctr"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2pPr>
                <a:lvl3pPr marL="1143000" indent="-228600" algn="ctr"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3pPr>
                <a:lvl4pPr marL="1600200" indent="-228600" algn="ctr"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4pPr>
                <a:lvl5pPr marL="2057400" indent="-228600" algn="ctr"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sz="3085">
                  <a:latin typeface="Trebuchet MS" panose="020B0603020202020204" pitchFamily="34" charset="0"/>
                  <a:cs typeface="+mn-cs"/>
                </a:endParaRPr>
              </a:p>
            </p:txBody>
          </p:sp>
          <p:pic>
            <p:nvPicPr>
              <p:cNvPr id="103" name="Picture 30"/>
              <p:cNvPicPr>
                <a:picLocks noChangeArrowheads="1"/>
              </p:cNvPicPr>
              <p:nvPr/>
            </p:nvPicPr>
            <p:blipFill>
              <a:blip r:embed="rId4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86446"/>
              <a:stretch>
                <a:fillRect/>
              </a:stretch>
            </p:blipFill>
            <p:spPr bwMode="auto">
              <a:xfrm>
                <a:off x="4857875" y="2800336"/>
                <a:ext cx="144463" cy="1444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90" name="89 Grupo"/>
            <p:cNvGrpSpPr/>
            <p:nvPr/>
          </p:nvGrpSpPr>
          <p:grpSpPr>
            <a:xfrm>
              <a:off x="1666913" y="2636911"/>
              <a:ext cx="255588" cy="240757"/>
              <a:chOff x="3981524" y="3349996"/>
              <a:chExt cx="255588" cy="240757"/>
            </a:xfrm>
          </p:grpSpPr>
          <p:sp>
            <p:nvSpPr>
              <p:cNvPr id="100" name="AutoShape 17"/>
              <p:cNvSpPr>
                <a:spLocks/>
              </p:cNvSpPr>
              <p:nvPr/>
            </p:nvSpPr>
            <p:spPr bwMode="auto">
              <a:xfrm>
                <a:off x="3981524" y="3349996"/>
                <a:ext cx="255588" cy="240757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  <a:effectLst>
                <a:glow rad="63500">
                  <a:schemeClr val="accent3">
                    <a:satMod val="175000"/>
                    <a:alpha val="40000"/>
                  </a:schemeClr>
                </a:glow>
              </a:effectLst>
              <a:scene3d>
                <a:camera prst="orthographicFront"/>
                <a:lightRig rig="threePt" dir="t"/>
              </a:scene3d>
              <a:sp3d>
                <a:bevelT/>
              </a:sp3d>
              <a:extLst/>
            </p:spPr>
            <p:txBody>
              <a:bodyPr lIns="0" tIns="0" rIns="0" bIns="0"/>
              <a:lstStyle>
                <a:lvl1pPr algn="ctr"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1pPr>
                <a:lvl2pPr marL="37931725" indent="-37474525" algn="ctr"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2pPr>
                <a:lvl3pPr marL="1143000" indent="-228600" algn="ctr"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3pPr>
                <a:lvl4pPr marL="1600200" indent="-228600" algn="ctr"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4pPr>
                <a:lvl5pPr marL="2057400" indent="-228600" algn="ctr"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sz="3085">
                  <a:latin typeface="Trebuchet MS" panose="020B0603020202020204" pitchFamily="34" charset="0"/>
                  <a:cs typeface="+mn-cs"/>
                </a:endParaRPr>
              </a:p>
            </p:txBody>
          </p:sp>
          <p:pic>
            <p:nvPicPr>
              <p:cNvPr id="101" name="Picture 29"/>
              <p:cNvPicPr>
                <a:picLocks noChangeArrowheads="1"/>
              </p:cNvPicPr>
              <p:nvPr/>
            </p:nvPicPr>
            <p:blipFill>
              <a:blip r:embed="rId5">
                <a:clrChange>
                  <a:clrFrom>
                    <a:srgbClr val="FCFFFF"/>
                  </a:clrFrom>
                  <a:clrTo>
                    <a:srgbClr val="FC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" r="72684" b="-2158"/>
              <a:stretch>
                <a:fillRect/>
              </a:stretch>
            </p:blipFill>
            <p:spPr bwMode="auto">
              <a:xfrm>
                <a:off x="4040089" y="3385442"/>
                <a:ext cx="142875" cy="1698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91" name="90 Grupo"/>
            <p:cNvGrpSpPr/>
            <p:nvPr/>
          </p:nvGrpSpPr>
          <p:grpSpPr>
            <a:xfrm>
              <a:off x="1671817" y="2924944"/>
              <a:ext cx="255588" cy="240757"/>
              <a:chOff x="4775076" y="3470375"/>
              <a:chExt cx="255588" cy="240757"/>
            </a:xfrm>
          </p:grpSpPr>
          <p:sp>
            <p:nvSpPr>
              <p:cNvPr id="98" name="AutoShape 17"/>
              <p:cNvSpPr>
                <a:spLocks/>
              </p:cNvSpPr>
              <p:nvPr/>
            </p:nvSpPr>
            <p:spPr bwMode="auto">
              <a:xfrm>
                <a:off x="4775076" y="3470375"/>
                <a:ext cx="255588" cy="240757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  <a:effectLst>
                <a:glow rad="63500">
                  <a:schemeClr val="accent3">
                    <a:satMod val="175000"/>
                    <a:alpha val="40000"/>
                  </a:schemeClr>
                </a:glow>
              </a:effectLst>
              <a:scene3d>
                <a:camera prst="orthographicFront"/>
                <a:lightRig rig="threePt" dir="t"/>
              </a:scene3d>
              <a:sp3d>
                <a:bevelT/>
              </a:sp3d>
              <a:extLst/>
            </p:spPr>
            <p:txBody>
              <a:bodyPr lIns="0" tIns="0" rIns="0" bIns="0"/>
              <a:lstStyle>
                <a:lvl1pPr algn="ctr"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1pPr>
                <a:lvl2pPr marL="37931725" indent="-37474525" algn="ctr"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2pPr>
                <a:lvl3pPr marL="1143000" indent="-228600" algn="ctr"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3pPr>
                <a:lvl4pPr marL="1600200" indent="-228600" algn="ctr"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4pPr>
                <a:lvl5pPr marL="2057400" indent="-228600" algn="ctr"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sz="3085">
                  <a:latin typeface="Trebuchet MS" panose="020B0603020202020204" pitchFamily="34" charset="0"/>
                  <a:cs typeface="+mn-cs"/>
                </a:endParaRPr>
              </a:p>
            </p:txBody>
          </p:sp>
          <p:pic>
            <p:nvPicPr>
              <p:cNvPr id="99" name="Picture 26"/>
              <p:cNvPicPr>
                <a:picLocks noChangeArrowheads="1"/>
              </p:cNvPicPr>
              <p:nvPr/>
            </p:nvPicPr>
            <p:blipFill>
              <a:blip r:embed="rId6">
                <a:clrChange>
                  <a:clrFrom>
                    <a:srgbClr val="FAFFFC"/>
                  </a:clrFrom>
                  <a:clrTo>
                    <a:srgbClr val="FAFFFC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50000"/>
              <a:stretch>
                <a:fillRect/>
              </a:stretch>
            </p:blipFill>
            <p:spPr bwMode="auto">
              <a:xfrm>
                <a:off x="4833270" y="3514552"/>
                <a:ext cx="173832" cy="1428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92" name="AutoShape 17"/>
            <p:cNvSpPr>
              <a:spLocks/>
            </p:cNvSpPr>
            <p:nvPr/>
          </p:nvSpPr>
          <p:spPr bwMode="auto">
            <a:xfrm>
              <a:off x="1979712" y="1772816"/>
              <a:ext cx="864096" cy="240757"/>
            </a:xfrm>
            <a:prstGeom prst="roundRect">
              <a:avLst>
                <a:gd name="adj" fmla="val 18350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glow rad="63500">
                <a:schemeClr val="accent3">
                  <a:satMod val="175000"/>
                  <a:alpha val="40000"/>
                </a:schemeClr>
              </a:glow>
            </a:effectLst>
            <a:scene3d>
              <a:camera prst="orthographicFront"/>
              <a:lightRig rig="threePt" dir="t"/>
            </a:scene3d>
            <a:sp3d>
              <a:bevelT/>
            </a:sp3d>
            <a:extLst/>
          </p:spPr>
          <p:txBody>
            <a:bodyPr lIns="0" tIns="0" rIns="0" bIns="0" anchor="ctr"/>
            <a:lstStyle>
              <a:lvl1pPr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1pPr>
              <a:lvl2pPr marL="37931725" indent="-37474525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2pPr>
              <a:lvl3pPr marL="11430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3pPr>
              <a:lvl4pPr marL="16002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4pPr>
              <a:lvl5pPr marL="20574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ES_tradnl" sz="800" u="none" dirty="0">
                  <a:latin typeface="Trebuchet MS" panose="020B0603020202020204" pitchFamily="34" charset="0"/>
                </a:rPr>
                <a:t>Llamadas a fijos</a:t>
              </a:r>
            </a:p>
          </p:txBody>
        </p:sp>
        <p:sp>
          <p:nvSpPr>
            <p:cNvPr id="93" name="AutoShape 17"/>
            <p:cNvSpPr>
              <a:spLocks/>
            </p:cNvSpPr>
            <p:nvPr/>
          </p:nvSpPr>
          <p:spPr bwMode="auto">
            <a:xfrm>
              <a:off x="1979712" y="2060848"/>
              <a:ext cx="864096" cy="240757"/>
            </a:xfrm>
            <a:prstGeom prst="roundRect">
              <a:avLst>
                <a:gd name="adj" fmla="val 18350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glow rad="63500">
                <a:schemeClr val="accent3">
                  <a:satMod val="175000"/>
                  <a:alpha val="40000"/>
                </a:schemeClr>
              </a:glow>
            </a:effectLst>
            <a:scene3d>
              <a:camera prst="orthographicFront"/>
              <a:lightRig rig="threePt" dir="t"/>
            </a:scene3d>
            <a:sp3d>
              <a:bevelT/>
            </a:sp3d>
            <a:extLst/>
          </p:spPr>
          <p:txBody>
            <a:bodyPr lIns="0" tIns="0" rIns="0" bIns="0" anchor="ctr"/>
            <a:lstStyle>
              <a:lvl1pPr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1pPr>
              <a:lvl2pPr marL="37931725" indent="-37474525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2pPr>
              <a:lvl3pPr marL="11430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3pPr>
              <a:lvl4pPr marL="16002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4pPr>
              <a:lvl5pPr marL="20574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ES_tradnl" sz="1000" u="none" dirty="0" smtClean="0">
                  <a:latin typeface="Trebuchet MS" panose="020B0603020202020204" pitchFamily="34" charset="0"/>
                  <a:cs typeface="+mn-cs"/>
                </a:rPr>
                <a:t>100 min</a:t>
              </a:r>
              <a:endParaRPr lang="es-ES_tradnl" sz="1000" u="none" dirty="0">
                <a:latin typeface="Trebuchet MS" panose="020B0603020202020204" pitchFamily="34" charset="0"/>
                <a:cs typeface="+mn-cs"/>
              </a:endParaRPr>
            </a:p>
          </p:txBody>
        </p:sp>
        <p:sp>
          <p:nvSpPr>
            <p:cNvPr id="94" name="AutoShape 17"/>
            <p:cNvSpPr>
              <a:spLocks/>
            </p:cNvSpPr>
            <p:nvPr/>
          </p:nvSpPr>
          <p:spPr bwMode="auto">
            <a:xfrm>
              <a:off x="1979712" y="2348880"/>
              <a:ext cx="864096" cy="240757"/>
            </a:xfrm>
            <a:prstGeom prst="roundRect">
              <a:avLst>
                <a:gd name="adj" fmla="val 18350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glow rad="63500">
                <a:schemeClr val="accent3">
                  <a:satMod val="175000"/>
                  <a:alpha val="40000"/>
                </a:schemeClr>
              </a:glow>
            </a:effectLst>
            <a:scene3d>
              <a:camera prst="orthographicFront"/>
              <a:lightRig rig="threePt" dir="t"/>
            </a:scene3d>
            <a:sp3d>
              <a:bevelT/>
            </a:sp3d>
            <a:extLst/>
          </p:spPr>
          <p:txBody>
            <a:bodyPr lIns="0" tIns="0" rIns="0" bIns="0" anchor="ctr"/>
            <a:lstStyle>
              <a:lvl1pPr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1pPr>
              <a:lvl2pPr marL="37931725" indent="-37474525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2pPr>
              <a:lvl3pPr marL="11430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3pPr>
              <a:lvl4pPr marL="16002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4pPr>
              <a:lvl5pPr marL="20574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ES_tradnl" sz="1000" u="none" dirty="0" smtClean="0">
                  <a:latin typeface="Trebuchet MS" panose="020B0603020202020204" pitchFamily="34" charset="0"/>
                  <a:cs typeface="+mn-cs"/>
                </a:rPr>
                <a:t>100 MB</a:t>
              </a:r>
              <a:endParaRPr lang="es-ES_tradnl" sz="1000" u="none" dirty="0">
                <a:latin typeface="Trebuchet MS" panose="020B0603020202020204" pitchFamily="34" charset="0"/>
                <a:cs typeface="+mn-cs"/>
              </a:endParaRPr>
            </a:p>
          </p:txBody>
        </p:sp>
        <p:sp>
          <p:nvSpPr>
            <p:cNvPr id="95" name="AutoShape 17"/>
            <p:cNvSpPr>
              <a:spLocks/>
            </p:cNvSpPr>
            <p:nvPr/>
          </p:nvSpPr>
          <p:spPr bwMode="auto">
            <a:xfrm>
              <a:off x="1979712" y="2636912"/>
              <a:ext cx="864096" cy="240757"/>
            </a:xfrm>
            <a:prstGeom prst="roundRect">
              <a:avLst>
                <a:gd name="adj" fmla="val 18350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glow rad="63500">
                <a:schemeClr val="accent3">
                  <a:satMod val="175000"/>
                  <a:alpha val="40000"/>
                </a:schemeClr>
              </a:glow>
            </a:effectLst>
            <a:scene3d>
              <a:camera prst="orthographicFront"/>
              <a:lightRig rig="threePt" dir="t"/>
            </a:scene3d>
            <a:sp3d>
              <a:bevelT/>
            </a:sp3d>
            <a:extLst/>
          </p:spPr>
          <p:txBody>
            <a:bodyPr lIns="0" tIns="0" rIns="0" bIns="0" anchor="ctr"/>
            <a:lstStyle>
              <a:lvl1pPr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1pPr>
              <a:lvl2pPr marL="37931725" indent="-37474525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2pPr>
              <a:lvl3pPr marL="11430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3pPr>
              <a:lvl4pPr marL="16002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4pPr>
              <a:lvl5pPr marL="20574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ES_tradnl" sz="1000" u="none" dirty="0" smtClean="0">
                  <a:latin typeface="Trebuchet MS" panose="020B0603020202020204" pitchFamily="34" charset="0"/>
                  <a:cs typeface="+mn-cs"/>
                </a:rPr>
                <a:t>Hasta 10Mb</a:t>
              </a:r>
              <a:endParaRPr lang="es-ES_tradnl" sz="1000" u="none" dirty="0">
                <a:latin typeface="Trebuchet MS" panose="020B0603020202020204" pitchFamily="34" charset="0"/>
                <a:cs typeface="+mn-cs"/>
              </a:endParaRPr>
            </a:p>
          </p:txBody>
        </p:sp>
        <p:sp>
          <p:nvSpPr>
            <p:cNvPr id="96" name="AutoShape 17"/>
            <p:cNvSpPr>
              <a:spLocks/>
            </p:cNvSpPr>
            <p:nvPr/>
          </p:nvSpPr>
          <p:spPr bwMode="auto">
            <a:xfrm>
              <a:off x="1979712" y="2924945"/>
              <a:ext cx="864096" cy="242558"/>
            </a:xfrm>
            <a:prstGeom prst="roundRect">
              <a:avLst>
                <a:gd name="adj" fmla="val 18350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glow rad="63500">
                <a:schemeClr val="accent3">
                  <a:satMod val="175000"/>
                  <a:alpha val="40000"/>
                </a:schemeClr>
              </a:glow>
            </a:effectLst>
            <a:scene3d>
              <a:camera prst="orthographicFront"/>
              <a:lightRig rig="threePt" dir="t"/>
            </a:scene3d>
            <a:sp3d>
              <a:bevelT/>
            </a:sp3d>
            <a:extLst/>
          </p:spPr>
          <p:txBody>
            <a:bodyPr lIns="0" tIns="0" rIns="0" bIns="0" anchor="ctr"/>
            <a:lstStyle>
              <a:lvl1pPr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1pPr>
              <a:lvl2pPr marL="37931725" indent="-37474525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2pPr>
              <a:lvl3pPr marL="11430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3pPr>
              <a:lvl4pPr marL="16002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4pPr>
              <a:lvl5pPr marL="20574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ES_tradnl" sz="1000" u="none" dirty="0" smtClean="0">
                  <a:solidFill>
                    <a:schemeClr val="tx1"/>
                  </a:solidFill>
                  <a:latin typeface="Trebuchet MS" panose="020B0603020202020204" pitchFamily="34" charset="0"/>
                </a:rPr>
                <a:t>7 canales + 1 Promocional</a:t>
              </a:r>
              <a:endParaRPr lang="es-ES_tradnl" sz="1000" u="none" dirty="0">
                <a:solidFill>
                  <a:schemeClr val="tx1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97" name="AutoShape 91"/>
            <p:cNvSpPr>
              <a:spLocks/>
            </p:cNvSpPr>
            <p:nvPr/>
          </p:nvSpPr>
          <p:spPr bwMode="auto">
            <a:xfrm>
              <a:off x="1794848" y="3284985"/>
              <a:ext cx="976952" cy="330384"/>
            </a:xfrm>
            <a:prstGeom prst="roundRect">
              <a:avLst>
                <a:gd name="adj" fmla="val 30809"/>
              </a:avLst>
            </a:prstGeom>
            <a:gradFill flip="none" rotWithShape="1">
              <a:gsLst>
                <a:gs pos="0">
                  <a:srgbClr val="003245">
                    <a:shade val="30000"/>
                    <a:satMod val="115000"/>
                  </a:srgbClr>
                </a:gs>
                <a:gs pos="50000">
                  <a:srgbClr val="003245">
                    <a:shade val="67500"/>
                    <a:satMod val="115000"/>
                  </a:srgbClr>
                </a:gs>
                <a:gs pos="100000">
                  <a:srgbClr val="003245">
                    <a:shade val="100000"/>
                    <a:satMod val="115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glow rad="63500">
                <a:srgbClr val="4BACC6">
                  <a:satMod val="175000"/>
                  <a:alpha val="40000"/>
                </a:srgbClr>
              </a:glow>
            </a:effectLst>
            <a:extLst/>
          </p:spPr>
          <p:txBody>
            <a:bodyPr lIns="0" tIns="0" rIns="0" bIns="0" anchor="ctr"/>
            <a:lstStyle>
              <a:lvl1pPr eaLnBrk="0" hangingPunct="0">
                <a:defRPr sz="2800">
                  <a:solidFill>
                    <a:srgbClr val="000000"/>
                  </a:solidFill>
                  <a:latin typeface="Gill Sans" charset="0"/>
                  <a:ea typeface="ヒラギノ角ゴ ProN W3" charset="-128"/>
                  <a:sym typeface="Gill Sans" charset="0"/>
                </a:defRPr>
              </a:lvl1pPr>
              <a:lvl2pPr marL="742950" indent="-285750" eaLnBrk="0" hangingPunct="0">
                <a:defRPr sz="2800">
                  <a:solidFill>
                    <a:srgbClr val="000000"/>
                  </a:solidFill>
                  <a:latin typeface="Gill Sans" charset="0"/>
                  <a:ea typeface="ヒラギノ角ゴ ProN W3" charset="-128"/>
                  <a:sym typeface="Gill Sans" charset="0"/>
                </a:defRPr>
              </a:lvl2pPr>
              <a:lvl3pPr marL="1143000" indent="-228600" eaLnBrk="0" hangingPunct="0">
                <a:defRPr sz="2800">
                  <a:solidFill>
                    <a:srgbClr val="000000"/>
                  </a:solidFill>
                  <a:latin typeface="Gill Sans" charset="0"/>
                  <a:ea typeface="ヒラギノ角ゴ ProN W3" charset="-128"/>
                  <a:sym typeface="Gill Sans" charset="0"/>
                </a:defRPr>
              </a:lvl3pPr>
              <a:lvl4pPr marL="1600200" indent="-228600" eaLnBrk="0" hangingPunct="0">
                <a:defRPr sz="2800">
                  <a:solidFill>
                    <a:srgbClr val="000000"/>
                  </a:solidFill>
                  <a:latin typeface="Gill Sans" charset="0"/>
                  <a:ea typeface="ヒラギノ角ゴ ProN W3" charset="-128"/>
                  <a:sym typeface="Gill Sans" charset="0"/>
                </a:defRPr>
              </a:lvl4pPr>
              <a:lvl5pPr marL="2057400" indent="-228600" eaLnBrk="0" hangingPunct="0">
                <a:defRPr sz="2800">
                  <a:solidFill>
                    <a:srgbClr val="000000"/>
                  </a:solidFill>
                  <a:latin typeface="Gill Sans" charset="0"/>
                  <a:ea typeface="ヒラギノ角ゴ ProN W3" charset="-128"/>
                  <a:sym typeface="Gill Sans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00"/>
                  </a:solidFill>
                  <a:latin typeface="Gill Sans" charset="0"/>
                  <a:ea typeface="ヒラギノ角ゴ ProN W3" charset="-128"/>
                  <a:sym typeface="Gill Sans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00"/>
                  </a:solidFill>
                  <a:latin typeface="Gill Sans" charset="0"/>
                  <a:ea typeface="ヒラギノ角ゴ ProN W3" charset="-128"/>
                  <a:sym typeface="Gill Sans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00"/>
                  </a:solidFill>
                  <a:latin typeface="Gill Sans" charset="0"/>
                  <a:ea typeface="ヒラギノ角ゴ ProN W3" charset="-128"/>
                  <a:sym typeface="Gill Sans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00"/>
                  </a:solidFill>
                  <a:latin typeface="Gill Sans" charset="0"/>
                  <a:ea typeface="ヒラギノ角ゴ ProN W3" charset="-128"/>
                  <a:sym typeface="Gill Sans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ES" sz="1600" b="1" u="none" kern="0" dirty="0" smtClean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rebuchet MS"/>
                  <a:cs typeface="Arial" panose="020B0604020202020204" pitchFamily="34" charset="0"/>
                </a:rPr>
                <a:t>42€</a:t>
              </a:r>
              <a:endParaRPr lang="es-ES" sz="1600" b="1" u="none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/>
                <a:cs typeface="Arial" panose="020B0604020202020204" pitchFamily="34" charset="0"/>
              </a:endParaRPr>
            </a:p>
          </p:txBody>
        </p:sp>
      </p:grpSp>
      <p:grpSp>
        <p:nvGrpSpPr>
          <p:cNvPr id="108" name="107 Grupo"/>
          <p:cNvGrpSpPr/>
          <p:nvPr/>
        </p:nvGrpSpPr>
        <p:grpSpPr>
          <a:xfrm>
            <a:off x="2279758" y="4293096"/>
            <a:ext cx="1296144" cy="1914561"/>
            <a:chOff x="1619672" y="1700808"/>
            <a:chExt cx="1296144" cy="1914561"/>
          </a:xfrm>
        </p:grpSpPr>
        <p:sp>
          <p:nvSpPr>
            <p:cNvPr id="109" name="108 Rectángulo redondeado"/>
            <p:cNvSpPr/>
            <p:nvPr/>
          </p:nvSpPr>
          <p:spPr bwMode="auto">
            <a:xfrm>
              <a:off x="1619672" y="1700808"/>
              <a:ext cx="1296144" cy="1762624"/>
            </a:xfrm>
            <a:prstGeom prst="roundRect">
              <a:avLst>
                <a:gd name="adj" fmla="val 11446"/>
              </a:avLst>
            </a:prstGeom>
            <a:solidFill>
              <a:schemeClr val="accent1">
                <a:lumMod val="90000"/>
                <a:lumOff val="10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ES" sz="2000" b="0" i="0" u="none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rebuchet MS" panose="020B0603020202020204" pitchFamily="34" charset="0"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  <p:grpSp>
          <p:nvGrpSpPr>
            <p:cNvPr id="110" name="109 Grupo"/>
            <p:cNvGrpSpPr/>
            <p:nvPr/>
          </p:nvGrpSpPr>
          <p:grpSpPr>
            <a:xfrm>
              <a:off x="1667054" y="1772816"/>
              <a:ext cx="255588" cy="240757"/>
              <a:chOff x="3779912" y="1912712"/>
              <a:chExt cx="255588" cy="240757"/>
            </a:xfrm>
          </p:grpSpPr>
          <p:sp>
            <p:nvSpPr>
              <p:cNvPr id="129" name="AutoShape 17"/>
              <p:cNvSpPr>
                <a:spLocks/>
              </p:cNvSpPr>
              <p:nvPr/>
            </p:nvSpPr>
            <p:spPr bwMode="auto">
              <a:xfrm>
                <a:off x="3779912" y="1912712"/>
                <a:ext cx="255588" cy="240757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  <a:effectLst>
                <a:glow rad="63500">
                  <a:schemeClr val="accent3">
                    <a:satMod val="175000"/>
                    <a:alpha val="40000"/>
                  </a:schemeClr>
                </a:glow>
              </a:effectLst>
              <a:scene3d>
                <a:camera prst="orthographicFront"/>
                <a:lightRig rig="threePt" dir="t"/>
              </a:scene3d>
              <a:sp3d>
                <a:bevelT/>
              </a:sp3d>
              <a:extLst/>
            </p:spPr>
            <p:txBody>
              <a:bodyPr lIns="0" tIns="0" rIns="0" bIns="0"/>
              <a:lstStyle>
                <a:lvl1pPr algn="ctr"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1pPr>
                <a:lvl2pPr marL="37931725" indent="-37474525" algn="ctr"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2pPr>
                <a:lvl3pPr marL="1143000" indent="-228600" algn="ctr"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3pPr>
                <a:lvl4pPr marL="1600200" indent="-228600" algn="ctr"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4pPr>
                <a:lvl5pPr marL="2057400" indent="-228600" algn="ctr"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sz="3085">
                  <a:latin typeface="Trebuchet MS" panose="020B0603020202020204" pitchFamily="34" charset="0"/>
                  <a:cs typeface="+mn-cs"/>
                </a:endParaRPr>
              </a:p>
            </p:txBody>
          </p:sp>
          <p:pic>
            <p:nvPicPr>
              <p:cNvPr id="130" name="Picture 27"/>
              <p:cNvPicPr>
                <a:picLocks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-2" r="75841" b="-21532"/>
              <a:stretch>
                <a:fillRect/>
              </a:stretch>
            </p:blipFill>
            <p:spPr bwMode="auto">
              <a:xfrm>
                <a:off x="3845001" y="1974626"/>
                <a:ext cx="144462" cy="146050"/>
              </a:xfrm>
              <a:prstGeom prst="rect">
                <a:avLst/>
              </a:prstGeom>
              <a:gradFill flip="none" rotWithShape="1">
                <a:gsLst>
                  <a:gs pos="0">
                    <a:srgbClr val="003245">
                      <a:shade val="30000"/>
                      <a:satMod val="115000"/>
                    </a:srgbClr>
                  </a:gs>
                  <a:gs pos="50000">
                    <a:srgbClr val="003245">
                      <a:shade val="67500"/>
                      <a:satMod val="115000"/>
                    </a:srgbClr>
                  </a:gs>
                  <a:gs pos="100000">
                    <a:srgbClr val="003245">
                      <a:shade val="100000"/>
                      <a:satMod val="11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glow rad="63500">
                  <a:srgbClr val="4BACC6">
                    <a:satMod val="175000"/>
                    <a:alpha val="40000"/>
                  </a:srgbClr>
                </a:glo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111" name="110 Grupo"/>
            <p:cNvGrpSpPr/>
            <p:nvPr/>
          </p:nvGrpSpPr>
          <p:grpSpPr>
            <a:xfrm>
              <a:off x="1667054" y="2060848"/>
              <a:ext cx="255588" cy="240757"/>
              <a:chOff x="3804518" y="2336098"/>
              <a:chExt cx="255588" cy="240757"/>
            </a:xfrm>
          </p:grpSpPr>
          <p:sp>
            <p:nvSpPr>
              <p:cNvPr id="127" name="AutoShape 17"/>
              <p:cNvSpPr>
                <a:spLocks/>
              </p:cNvSpPr>
              <p:nvPr/>
            </p:nvSpPr>
            <p:spPr bwMode="auto">
              <a:xfrm>
                <a:off x="3804518" y="2336098"/>
                <a:ext cx="255588" cy="240757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  <a:effectLst>
                <a:glow rad="63500">
                  <a:schemeClr val="accent3">
                    <a:satMod val="175000"/>
                    <a:alpha val="40000"/>
                  </a:schemeClr>
                </a:glow>
              </a:effectLst>
              <a:scene3d>
                <a:camera prst="orthographicFront"/>
                <a:lightRig rig="threePt" dir="t"/>
              </a:scene3d>
              <a:sp3d>
                <a:bevelT/>
              </a:sp3d>
              <a:extLst/>
            </p:spPr>
            <p:txBody>
              <a:bodyPr lIns="0" tIns="0" rIns="0" bIns="0"/>
              <a:lstStyle>
                <a:lvl1pPr algn="ctr"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1pPr>
                <a:lvl2pPr marL="37931725" indent="-37474525" algn="ctr"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2pPr>
                <a:lvl3pPr marL="1143000" indent="-228600" algn="ctr"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3pPr>
                <a:lvl4pPr marL="1600200" indent="-228600" algn="ctr"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4pPr>
                <a:lvl5pPr marL="2057400" indent="-228600" algn="ctr"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sz="3085">
                  <a:latin typeface="Trebuchet MS" panose="020B0603020202020204" pitchFamily="34" charset="0"/>
                  <a:cs typeface="+mn-cs"/>
                </a:endParaRPr>
              </a:p>
            </p:txBody>
          </p:sp>
          <p:pic>
            <p:nvPicPr>
              <p:cNvPr id="128" name="Picture 28"/>
              <p:cNvPicPr>
                <a:picLocks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82472" b="-5261"/>
              <a:stretch>
                <a:fillRect/>
              </a:stretch>
            </p:blipFill>
            <p:spPr bwMode="auto">
              <a:xfrm>
                <a:off x="3891831" y="2389801"/>
                <a:ext cx="90488" cy="133350"/>
              </a:xfrm>
              <a:prstGeom prst="rect">
                <a:avLst/>
              </a:prstGeom>
              <a:gradFill flip="none" rotWithShape="1">
                <a:gsLst>
                  <a:gs pos="0">
                    <a:srgbClr val="003245">
                      <a:shade val="30000"/>
                      <a:satMod val="115000"/>
                    </a:srgbClr>
                  </a:gs>
                  <a:gs pos="50000">
                    <a:srgbClr val="003245">
                      <a:shade val="67500"/>
                      <a:satMod val="115000"/>
                    </a:srgbClr>
                  </a:gs>
                  <a:gs pos="100000">
                    <a:srgbClr val="003245">
                      <a:shade val="100000"/>
                      <a:satMod val="11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glow rad="63500">
                  <a:srgbClr val="4BACC6">
                    <a:satMod val="175000"/>
                    <a:alpha val="40000"/>
                  </a:srgbClr>
                </a:glo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112" name="111 Grupo"/>
            <p:cNvGrpSpPr/>
            <p:nvPr/>
          </p:nvGrpSpPr>
          <p:grpSpPr>
            <a:xfrm>
              <a:off x="1667054" y="2348880"/>
              <a:ext cx="255588" cy="240757"/>
              <a:chOff x="4788024" y="2752500"/>
              <a:chExt cx="255588" cy="240757"/>
            </a:xfrm>
          </p:grpSpPr>
          <p:sp>
            <p:nvSpPr>
              <p:cNvPr id="125" name="AutoShape 17"/>
              <p:cNvSpPr>
                <a:spLocks/>
              </p:cNvSpPr>
              <p:nvPr/>
            </p:nvSpPr>
            <p:spPr bwMode="auto">
              <a:xfrm>
                <a:off x="4788024" y="2752500"/>
                <a:ext cx="255588" cy="240757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  <a:effectLst>
                <a:glow rad="63500">
                  <a:schemeClr val="accent3">
                    <a:satMod val="175000"/>
                    <a:alpha val="40000"/>
                  </a:schemeClr>
                </a:glow>
              </a:effectLst>
              <a:scene3d>
                <a:camera prst="orthographicFront"/>
                <a:lightRig rig="threePt" dir="t"/>
              </a:scene3d>
              <a:sp3d>
                <a:bevelT/>
              </a:sp3d>
              <a:extLst/>
            </p:spPr>
            <p:txBody>
              <a:bodyPr lIns="0" tIns="0" rIns="0" bIns="0"/>
              <a:lstStyle>
                <a:lvl1pPr algn="ctr"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1pPr>
                <a:lvl2pPr marL="37931725" indent="-37474525" algn="ctr"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2pPr>
                <a:lvl3pPr marL="1143000" indent="-228600" algn="ctr"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3pPr>
                <a:lvl4pPr marL="1600200" indent="-228600" algn="ctr"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4pPr>
                <a:lvl5pPr marL="2057400" indent="-228600" algn="ctr"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sz="3085">
                  <a:latin typeface="Trebuchet MS" panose="020B0603020202020204" pitchFamily="34" charset="0"/>
                  <a:cs typeface="+mn-cs"/>
                </a:endParaRPr>
              </a:p>
            </p:txBody>
          </p:sp>
          <p:pic>
            <p:nvPicPr>
              <p:cNvPr id="126" name="Picture 30"/>
              <p:cNvPicPr>
                <a:picLocks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86446"/>
              <a:stretch>
                <a:fillRect/>
              </a:stretch>
            </p:blipFill>
            <p:spPr bwMode="auto">
              <a:xfrm>
                <a:off x="4857875" y="2800336"/>
                <a:ext cx="144463" cy="144462"/>
              </a:xfrm>
              <a:prstGeom prst="rect">
                <a:avLst/>
              </a:prstGeom>
              <a:gradFill flip="none" rotWithShape="1">
                <a:gsLst>
                  <a:gs pos="0">
                    <a:srgbClr val="003245">
                      <a:shade val="30000"/>
                      <a:satMod val="115000"/>
                    </a:srgbClr>
                  </a:gs>
                  <a:gs pos="50000">
                    <a:srgbClr val="003245">
                      <a:shade val="67500"/>
                      <a:satMod val="115000"/>
                    </a:srgbClr>
                  </a:gs>
                  <a:gs pos="100000">
                    <a:srgbClr val="003245">
                      <a:shade val="100000"/>
                      <a:satMod val="11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glow rad="63500">
                  <a:srgbClr val="4BACC6">
                    <a:satMod val="175000"/>
                    <a:alpha val="40000"/>
                  </a:srgbClr>
                </a:glo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113" name="112 Grupo"/>
            <p:cNvGrpSpPr/>
            <p:nvPr/>
          </p:nvGrpSpPr>
          <p:grpSpPr>
            <a:xfrm>
              <a:off x="1666913" y="2636911"/>
              <a:ext cx="255588" cy="240757"/>
              <a:chOff x="3981524" y="3349996"/>
              <a:chExt cx="255588" cy="240757"/>
            </a:xfrm>
          </p:grpSpPr>
          <p:sp>
            <p:nvSpPr>
              <p:cNvPr id="123" name="AutoShape 17"/>
              <p:cNvSpPr>
                <a:spLocks/>
              </p:cNvSpPr>
              <p:nvPr/>
            </p:nvSpPr>
            <p:spPr bwMode="auto">
              <a:xfrm>
                <a:off x="3981524" y="3349996"/>
                <a:ext cx="255588" cy="240757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  <a:effectLst>
                <a:glow rad="63500">
                  <a:schemeClr val="accent3">
                    <a:satMod val="175000"/>
                    <a:alpha val="40000"/>
                  </a:schemeClr>
                </a:glow>
              </a:effectLst>
              <a:scene3d>
                <a:camera prst="orthographicFront"/>
                <a:lightRig rig="threePt" dir="t"/>
              </a:scene3d>
              <a:sp3d>
                <a:bevelT/>
              </a:sp3d>
              <a:extLst/>
            </p:spPr>
            <p:txBody>
              <a:bodyPr lIns="0" tIns="0" rIns="0" bIns="0"/>
              <a:lstStyle>
                <a:lvl1pPr algn="ctr"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1pPr>
                <a:lvl2pPr marL="37931725" indent="-37474525" algn="ctr"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2pPr>
                <a:lvl3pPr marL="1143000" indent="-228600" algn="ctr"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3pPr>
                <a:lvl4pPr marL="1600200" indent="-228600" algn="ctr"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4pPr>
                <a:lvl5pPr marL="2057400" indent="-228600" algn="ctr"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sz="3085">
                  <a:latin typeface="Trebuchet MS" panose="020B0603020202020204" pitchFamily="34" charset="0"/>
                  <a:cs typeface="+mn-cs"/>
                </a:endParaRPr>
              </a:p>
            </p:txBody>
          </p:sp>
          <p:pic>
            <p:nvPicPr>
              <p:cNvPr id="124" name="Picture 29"/>
              <p:cNvPicPr>
                <a:picLocks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" r="72684" b="-2158"/>
              <a:stretch>
                <a:fillRect/>
              </a:stretch>
            </p:blipFill>
            <p:spPr bwMode="auto">
              <a:xfrm>
                <a:off x="4040089" y="3385442"/>
                <a:ext cx="142875" cy="169863"/>
              </a:xfrm>
              <a:prstGeom prst="rect">
                <a:avLst/>
              </a:prstGeom>
              <a:gradFill flip="none" rotWithShape="1">
                <a:gsLst>
                  <a:gs pos="0">
                    <a:srgbClr val="003245">
                      <a:shade val="30000"/>
                      <a:satMod val="115000"/>
                    </a:srgbClr>
                  </a:gs>
                  <a:gs pos="50000">
                    <a:srgbClr val="003245">
                      <a:shade val="67500"/>
                      <a:satMod val="115000"/>
                    </a:srgbClr>
                  </a:gs>
                  <a:gs pos="100000">
                    <a:srgbClr val="003245">
                      <a:shade val="100000"/>
                      <a:satMod val="11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glow rad="63500">
                  <a:srgbClr val="4BACC6">
                    <a:satMod val="175000"/>
                    <a:alpha val="40000"/>
                  </a:srgbClr>
                </a:glo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114" name="113 Grupo"/>
            <p:cNvGrpSpPr/>
            <p:nvPr/>
          </p:nvGrpSpPr>
          <p:grpSpPr>
            <a:xfrm>
              <a:off x="1671817" y="2924944"/>
              <a:ext cx="255588" cy="240757"/>
              <a:chOff x="4775076" y="3470375"/>
              <a:chExt cx="255588" cy="240757"/>
            </a:xfrm>
          </p:grpSpPr>
          <p:sp>
            <p:nvSpPr>
              <p:cNvPr id="121" name="AutoShape 17"/>
              <p:cNvSpPr>
                <a:spLocks/>
              </p:cNvSpPr>
              <p:nvPr/>
            </p:nvSpPr>
            <p:spPr bwMode="auto">
              <a:xfrm>
                <a:off x="4775076" y="3470375"/>
                <a:ext cx="255588" cy="240757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  <a:effectLst>
                <a:glow rad="63500">
                  <a:schemeClr val="accent3">
                    <a:satMod val="175000"/>
                    <a:alpha val="40000"/>
                  </a:schemeClr>
                </a:glow>
              </a:effectLst>
              <a:scene3d>
                <a:camera prst="orthographicFront"/>
                <a:lightRig rig="threePt" dir="t"/>
              </a:scene3d>
              <a:sp3d>
                <a:bevelT/>
              </a:sp3d>
              <a:extLst/>
            </p:spPr>
            <p:txBody>
              <a:bodyPr lIns="0" tIns="0" rIns="0" bIns="0"/>
              <a:lstStyle>
                <a:lvl1pPr algn="ctr"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1pPr>
                <a:lvl2pPr marL="37931725" indent="-37474525" algn="ctr"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2pPr>
                <a:lvl3pPr marL="1143000" indent="-228600" algn="ctr"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3pPr>
                <a:lvl4pPr marL="1600200" indent="-228600" algn="ctr"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4pPr>
                <a:lvl5pPr marL="2057400" indent="-228600" algn="ctr"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u="sng">
                    <a:solidFill>
                      <a:srgbClr val="000000"/>
                    </a:solidFill>
                    <a:latin typeface="Arial" panose="020B0604020202020204" pitchFamily="34" charset="0"/>
                    <a:ea typeface="ヒラギノ角ゴ ProN W3" pitchFamily="-84" charset="-128"/>
                    <a:sym typeface="Arial" panose="020B0604020202020204" pitchFamily="34" charset="0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sz="3085">
                  <a:latin typeface="Trebuchet MS" panose="020B0603020202020204" pitchFamily="34" charset="0"/>
                  <a:cs typeface="+mn-cs"/>
                </a:endParaRPr>
              </a:p>
            </p:txBody>
          </p:sp>
          <p:pic>
            <p:nvPicPr>
              <p:cNvPr id="122" name="Picture 26"/>
              <p:cNvPicPr>
                <a:picLocks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50000"/>
              <a:stretch>
                <a:fillRect/>
              </a:stretch>
            </p:blipFill>
            <p:spPr bwMode="auto">
              <a:xfrm>
                <a:off x="4833270" y="3514552"/>
                <a:ext cx="173832" cy="142875"/>
              </a:xfrm>
              <a:prstGeom prst="rect">
                <a:avLst/>
              </a:prstGeom>
              <a:gradFill flip="none" rotWithShape="1">
                <a:gsLst>
                  <a:gs pos="0">
                    <a:srgbClr val="003245">
                      <a:shade val="30000"/>
                      <a:satMod val="115000"/>
                    </a:srgbClr>
                  </a:gs>
                  <a:gs pos="50000">
                    <a:srgbClr val="003245">
                      <a:shade val="67500"/>
                      <a:satMod val="115000"/>
                    </a:srgbClr>
                  </a:gs>
                  <a:gs pos="100000">
                    <a:srgbClr val="003245">
                      <a:shade val="100000"/>
                      <a:satMod val="11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glow rad="63500">
                  <a:srgbClr val="4BACC6">
                    <a:satMod val="175000"/>
                    <a:alpha val="40000"/>
                  </a:srgbClr>
                </a:glo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115" name="AutoShape 17"/>
            <p:cNvSpPr>
              <a:spLocks/>
            </p:cNvSpPr>
            <p:nvPr/>
          </p:nvSpPr>
          <p:spPr bwMode="auto">
            <a:xfrm>
              <a:off x="1979712" y="1772816"/>
              <a:ext cx="864096" cy="240757"/>
            </a:xfrm>
            <a:prstGeom prst="roundRect">
              <a:avLst>
                <a:gd name="adj" fmla="val 18350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glow rad="63500">
                <a:schemeClr val="accent3">
                  <a:satMod val="175000"/>
                  <a:alpha val="40000"/>
                </a:schemeClr>
              </a:glow>
            </a:effectLst>
            <a:scene3d>
              <a:camera prst="orthographicFront"/>
              <a:lightRig rig="threePt" dir="t"/>
            </a:scene3d>
            <a:sp3d>
              <a:bevelT/>
            </a:sp3d>
            <a:extLst/>
          </p:spPr>
          <p:txBody>
            <a:bodyPr lIns="0" tIns="0" rIns="0" bIns="0" anchor="ctr"/>
            <a:lstStyle>
              <a:lvl1pPr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1pPr>
              <a:lvl2pPr marL="37931725" indent="-37474525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2pPr>
              <a:lvl3pPr marL="11430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3pPr>
              <a:lvl4pPr marL="16002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4pPr>
              <a:lvl5pPr marL="20574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ES_tradnl" sz="800" u="none" dirty="0">
                  <a:latin typeface="Trebuchet MS" panose="020B0603020202020204" pitchFamily="34" charset="0"/>
                </a:rPr>
                <a:t>Llamadas a fijos</a:t>
              </a:r>
            </a:p>
          </p:txBody>
        </p:sp>
        <p:sp>
          <p:nvSpPr>
            <p:cNvPr id="116" name="AutoShape 17"/>
            <p:cNvSpPr>
              <a:spLocks/>
            </p:cNvSpPr>
            <p:nvPr/>
          </p:nvSpPr>
          <p:spPr bwMode="auto">
            <a:xfrm>
              <a:off x="1979712" y="2060848"/>
              <a:ext cx="864096" cy="240757"/>
            </a:xfrm>
            <a:prstGeom prst="roundRect">
              <a:avLst>
                <a:gd name="adj" fmla="val 18350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glow rad="63500">
                <a:schemeClr val="accent3">
                  <a:satMod val="175000"/>
                  <a:alpha val="40000"/>
                </a:schemeClr>
              </a:glow>
            </a:effectLst>
            <a:scene3d>
              <a:camera prst="orthographicFront"/>
              <a:lightRig rig="threePt" dir="t"/>
            </a:scene3d>
            <a:sp3d>
              <a:bevelT/>
            </a:sp3d>
            <a:extLst/>
          </p:spPr>
          <p:txBody>
            <a:bodyPr lIns="0" tIns="0" rIns="0" bIns="0" anchor="ctr"/>
            <a:lstStyle>
              <a:lvl1pPr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1pPr>
              <a:lvl2pPr marL="37931725" indent="-37474525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2pPr>
              <a:lvl3pPr marL="11430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3pPr>
              <a:lvl4pPr marL="16002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4pPr>
              <a:lvl5pPr marL="20574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ES_tradnl" sz="1000" u="none" dirty="0" smtClean="0">
                  <a:latin typeface="Trebuchet MS" panose="020B0603020202020204" pitchFamily="34" charset="0"/>
                  <a:cs typeface="+mn-cs"/>
                </a:rPr>
                <a:t>100 min</a:t>
              </a:r>
              <a:endParaRPr lang="es-ES_tradnl" sz="1000" u="none" dirty="0">
                <a:latin typeface="Trebuchet MS" panose="020B0603020202020204" pitchFamily="34" charset="0"/>
                <a:cs typeface="+mn-cs"/>
              </a:endParaRPr>
            </a:p>
          </p:txBody>
        </p:sp>
        <p:sp>
          <p:nvSpPr>
            <p:cNvPr id="117" name="AutoShape 17"/>
            <p:cNvSpPr>
              <a:spLocks/>
            </p:cNvSpPr>
            <p:nvPr/>
          </p:nvSpPr>
          <p:spPr bwMode="auto">
            <a:xfrm>
              <a:off x="1979712" y="2348880"/>
              <a:ext cx="864096" cy="240757"/>
            </a:xfrm>
            <a:prstGeom prst="roundRect">
              <a:avLst>
                <a:gd name="adj" fmla="val 18350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glow rad="63500">
                <a:schemeClr val="accent3">
                  <a:satMod val="175000"/>
                  <a:alpha val="40000"/>
                </a:schemeClr>
              </a:glow>
            </a:effectLst>
            <a:scene3d>
              <a:camera prst="orthographicFront"/>
              <a:lightRig rig="threePt" dir="t"/>
            </a:scene3d>
            <a:sp3d>
              <a:bevelT/>
            </a:sp3d>
            <a:extLst/>
          </p:spPr>
          <p:txBody>
            <a:bodyPr lIns="0" tIns="0" rIns="0" bIns="0" anchor="ctr"/>
            <a:lstStyle>
              <a:lvl1pPr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1pPr>
              <a:lvl2pPr marL="37931725" indent="-37474525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2pPr>
              <a:lvl3pPr marL="11430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3pPr>
              <a:lvl4pPr marL="16002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4pPr>
              <a:lvl5pPr marL="20574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ES_tradnl" sz="1000" u="none" dirty="0" smtClean="0">
                  <a:latin typeface="Trebuchet MS" panose="020B0603020202020204" pitchFamily="34" charset="0"/>
                  <a:cs typeface="+mn-cs"/>
                </a:rPr>
                <a:t>100 MB</a:t>
              </a:r>
              <a:endParaRPr lang="es-ES_tradnl" sz="1000" u="none" dirty="0">
                <a:latin typeface="Trebuchet MS" panose="020B0603020202020204" pitchFamily="34" charset="0"/>
                <a:cs typeface="+mn-cs"/>
              </a:endParaRPr>
            </a:p>
          </p:txBody>
        </p:sp>
        <p:sp>
          <p:nvSpPr>
            <p:cNvPr id="118" name="AutoShape 17"/>
            <p:cNvSpPr>
              <a:spLocks/>
            </p:cNvSpPr>
            <p:nvPr/>
          </p:nvSpPr>
          <p:spPr bwMode="auto">
            <a:xfrm>
              <a:off x="1979712" y="2636912"/>
              <a:ext cx="864096" cy="240757"/>
            </a:xfrm>
            <a:prstGeom prst="roundRect">
              <a:avLst>
                <a:gd name="adj" fmla="val 18350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glow rad="63500">
                <a:schemeClr val="accent3">
                  <a:satMod val="175000"/>
                  <a:alpha val="40000"/>
                </a:schemeClr>
              </a:glow>
            </a:effectLst>
            <a:scene3d>
              <a:camera prst="orthographicFront"/>
              <a:lightRig rig="threePt" dir="t"/>
            </a:scene3d>
            <a:sp3d>
              <a:bevelT/>
            </a:sp3d>
            <a:extLst/>
          </p:spPr>
          <p:txBody>
            <a:bodyPr lIns="0" tIns="0" rIns="0" bIns="0" anchor="ctr"/>
            <a:lstStyle>
              <a:lvl1pPr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1pPr>
              <a:lvl2pPr marL="37931725" indent="-37474525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2pPr>
              <a:lvl3pPr marL="11430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3pPr>
              <a:lvl4pPr marL="16002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4pPr>
              <a:lvl5pPr marL="20574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ES_tradnl" sz="1000" u="none" dirty="0">
                  <a:latin typeface="Trebuchet MS" panose="020B0603020202020204" pitchFamily="34" charset="0"/>
                </a:rPr>
                <a:t>100 Mb</a:t>
              </a:r>
            </a:p>
          </p:txBody>
        </p:sp>
        <p:sp>
          <p:nvSpPr>
            <p:cNvPr id="119" name="AutoShape 17"/>
            <p:cNvSpPr>
              <a:spLocks/>
            </p:cNvSpPr>
            <p:nvPr/>
          </p:nvSpPr>
          <p:spPr bwMode="auto">
            <a:xfrm>
              <a:off x="1979712" y="2924945"/>
              <a:ext cx="864096" cy="242558"/>
            </a:xfrm>
            <a:prstGeom prst="roundRect">
              <a:avLst>
                <a:gd name="adj" fmla="val 18350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glow rad="63500">
                <a:schemeClr val="accent3">
                  <a:satMod val="175000"/>
                  <a:alpha val="40000"/>
                </a:schemeClr>
              </a:glow>
            </a:effectLst>
            <a:scene3d>
              <a:camera prst="orthographicFront"/>
              <a:lightRig rig="threePt" dir="t"/>
            </a:scene3d>
            <a:sp3d>
              <a:bevelT/>
            </a:sp3d>
            <a:extLst/>
          </p:spPr>
          <p:txBody>
            <a:bodyPr lIns="0" tIns="0" rIns="0" bIns="0" anchor="ctr"/>
            <a:lstStyle>
              <a:lvl1pPr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1pPr>
              <a:lvl2pPr marL="37931725" indent="-37474525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2pPr>
              <a:lvl3pPr marL="11430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3pPr>
              <a:lvl4pPr marL="16002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4pPr>
              <a:lvl5pPr marL="20574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ES_tradnl" sz="1000" u="none" dirty="0" smtClean="0">
                  <a:solidFill>
                    <a:schemeClr val="tx1"/>
                  </a:solidFill>
                  <a:latin typeface="Trebuchet MS" panose="020B0603020202020204" pitchFamily="34" charset="0"/>
                </a:rPr>
                <a:t>7 canales + 1 promocional</a:t>
              </a:r>
              <a:endParaRPr lang="es-ES_tradnl" sz="1000" u="none" dirty="0">
                <a:solidFill>
                  <a:schemeClr val="tx1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120" name="AutoShape 91"/>
            <p:cNvSpPr>
              <a:spLocks/>
            </p:cNvSpPr>
            <p:nvPr/>
          </p:nvSpPr>
          <p:spPr bwMode="auto">
            <a:xfrm>
              <a:off x="1794848" y="3284985"/>
              <a:ext cx="976952" cy="330384"/>
            </a:xfrm>
            <a:prstGeom prst="roundRect">
              <a:avLst>
                <a:gd name="adj" fmla="val 30809"/>
              </a:avLst>
            </a:prstGeom>
            <a:gradFill flip="none" rotWithShape="1">
              <a:gsLst>
                <a:gs pos="0">
                  <a:srgbClr val="003245">
                    <a:shade val="30000"/>
                    <a:satMod val="115000"/>
                  </a:srgbClr>
                </a:gs>
                <a:gs pos="50000">
                  <a:srgbClr val="003245">
                    <a:shade val="67500"/>
                    <a:satMod val="115000"/>
                  </a:srgbClr>
                </a:gs>
                <a:gs pos="100000">
                  <a:srgbClr val="003245">
                    <a:shade val="100000"/>
                    <a:satMod val="115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glow rad="63500">
                <a:srgbClr val="4BACC6">
                  <a:satMod val="175000"/>
                  <a:alpha val="40000"/>
                </a:srgbClr>
              </a:glow>
            </a:effectLst>
            <a:extLst/>
          </p:spPr>
          <p:txBody>
            <a:bodyPr lIns="0" tIns="0" rIns="0" bIns="0" anchor="ctr"/>
            <a:lstStyle/>
            <a:p>
              <a:pPr algn="ctr"/>
              <a:r>
                <a:rPr lang="es-ES" sz="1600" b="1" kern="0" dirty="0" smtClean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rebuchet MS"/>
                  <a:ea typeface="ヒラギノ角ゴ ProN W3" charset="-128"/>
                  <a:cs typeface="Arial" panose="020B0604020202020204" pitchFamily="34" charset="0"/>
                </a:rPr>
                <a:t>54€</a:t>
              </a:r>
              <a:endParaRPr lang="es-ES" sz="1600" b="1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/>
                <a:ea typeface="ヒラギノ角ゴ ProN W3" charset="-128"/>
                <a:cs typeface="Arial" panose="020B0604020202020204" pitchFamily="34" charset="0"/>
              </a:endParaRPr>
            </a:p>
          </p:txBody>
        </p:sp>
      </p:grpSp>
      <p:sp>
        <p:nvSpPr>
          <p:cNvPr id="131" name="AutoShape 17"/>
          <p:cNvSpPr>
            <a:spLocks/>
          </p:cNvSpPr>
          <p:nvPr/>
        </p:nvSpPr>
        <p:spPr bwMode="auto">
          <a:xfrm>
            <a:off x="4436087" y="2548088"/>
            <a:ext cx="864096" cy="506320"/>
          </a:xfrm>
          <a:prstGeom prst="roundRect">
            <a:avLst>
              <a:gd name="adj" fmla="val 18350"/>
            </a:avLst>
          </a:prstGeom>
          <a:solidFill>
            <a:schemeClr val="bg1"/>
          </a:solidFill>
          <a:ln>
            <a:solidFill>
              <a:schemeClr val="tx1"/>
            </a:solidFill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 lIns="0" tIns="0" rIns="0" bIns="0" anchor="ctr"/>
          <a:lstStyle>
            <a:lvl1pPr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1pPr>
            <a:lvl2pPr marL="37931725" indent="-37474525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2pPr>
            <a:lvl3pPr marL="11430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3pPr>
            <a:lvl4pPr marL="16002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4pPr>
            <a:lvl5pPr marL="20574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s-ES_tradnl" sz="1200" b="1" u="none" dirty="0">
                <a:latin typeface="Trebuchet MS" panose="020B0603020202020204" pitchFamily="34" charset="0"/>
              </a:rPr>
              <a:t>Para </a:t>
            </a:r>
            <a:r>
              <a:rPr lang="es-ES_tradnl" sz="1200" b="1" u="none" dirty="0" smtClean="0">
                <a:latin typeface="Trebuchet MS" panose="020B0603020202020204" pitchFamily="34" charset="0"/>
              </a:rPr>
              <a:t>Todos </a:t>
            </a:r>
            <a:r>
              <a:rPr lang="es-ES_tradnl" sz="800" u="none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Grabaciones</a:t>
            </a:r>
            <a:endParaRPr lang="es-ES_tradnl" sz="800" u="none" dirty="0">
              <a:solidFill>
                <a:schemeClr val="tx1"/>
              </a:solidFill>
              <a:latin typeface="Trebuchet MS" panose="020B0603020202020204" pitchFamily="34" charset="0"/>
            </a:endParaRPr>
          </a:p>
          <a:p>
            <a:pPr>
              <a:defRPr/>
            </a:pPr>
            <a:r>
              <a:rPr lang="es-ES_tradnl" sz="800" u="none" dirty="0">
                <a:latin typeface="Trebuchet MS" panose="020B0603020202020204" pitchFamily="34" charset="0"/>
              </a:rPr>
              <a:t>Multipantallla</a:t>
            </a:r>
          </a:p>
        </p:txBody>
      </p:sp>
      <p:sp>
        <p:nvSpPr>
          <p:cNvPr id="132" name="131 Rectángulo redondeado"/>
          <p:cNvSpPr/>
          <p:nvPr/>
        </p:nvSpPr>
        <p:spPr bwMode="auto">
          <a:xfrm>
            <a:off x="7466622" y="4084428"/>
            <a:ext cx="1296144" cy="1942804"/>
          </a:xfrm>
          <a:prstGeom prst="roundRect">
            <a:avLst>
              <a:gd name="adj" fmla="val 11446"/>
            </a:avLst>
          </a:prstGeom>
          <a:solidFill>
            <a:schemeClr val="accent1">
              <a:lumMod val="90000"/>
              <a:lumOff val="1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" sz="2000" b="0" i="0" u="none" strike="noStrike" cap="none" normalizeH="0" baseline="0" dirty="0">
              <a:ln>
                <a:noFill/>
              </a:ln>
              <a:solidFill>
                <a:schemeClr val="bg2"/>
              </a:solidFill>
              <a:effectLst/>
              <a:latin typeface="Trebuchet MS" panose="020B0603020202020204" pitchFamily="34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grpSp>
        <p:nvGrpSpPr>
          <p:cNvPr id="133" name="132 Grupo"/>
          <p:cNvGrpSpPr/>
          <p:nvPr/>
        </p:nvGrpSpPr>
        <p:grpSpPr>
          <a:xfrm>
            <a:off x="7514004" y="4156436"/>
            <a:ext cx="255588" cy="240757"/>
            <a:chOff x="3779912" y="1912712"/>
            <a:chExt cx="255588" cy="240757"/>
          </a:xfrm>
        </p:grpSpPr>
        <p:sp>
          <p:nvSpPr>
            <p:cNvPr id="134" name="AutoShape 17"/>
            <p:cNvSpPr>
              <a:spLocks/>
            </p:cNvSpPr>
            <p:nvPr/>
          </p:nvSpPr>
          <p:spPr bwMode="auto">
            <a:xfrm>
              <a:off x="3779912" y="1912712"/>
              <a:ext cx="255588" cy="240757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glow rad="63500">
                <a:schemeClr val="accent3">
                  <a:satMod val="175000"/>
                  <a:alpha val="40000"/>
                </a:schemeClr>
              </a:glow>
            </a:effectLst>
            <a:scene3d>
              <a:camera prst="orthographicFront"/>
              <a:lightRig rig="threePt" dir="t"/>
            </a:scene3d>
            <a:sp3d>
              <a:bevelT/>
            </a:sp3d>
            <a:extLst/>
          </p:spPr>
          <p:txBody>
            <a:bodyPr lIns="0" tIns="0" rIns="0" bIns="0"/>
            <a:lstStyle>
              <a:lvl1pPr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1pPr>
              <a:lvl2pPr marL="37931725" indent="-37474525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2pPr>
              <a:lvl3pPr marL="11430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3pPr>
              <a:lvl4pPr marL="16002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4pPr>
              <a:lvl5pPr marL="20574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ES_tradnl" sz="3085">
                <a:latin typeface="Trebuchet MS" panose="020B0603020202020204" pitchFamily="34" charset="0"/>
                <a:cs typeface="+mn-cs"/>
              </a:endParaRPr>
            </a:p>
          </p:txBody>
        </p:sp>
        <p:pic>
          <p:nvPicPr>
            <p:cNvPr id="135" name="Picture 27"/>
            <p:cNvPicPr>
              <a:picLocks noChangeArrowheads="1"/>
            </p:cNvPicPr>
            <p:nvPr/>
          </p:nvPicPr>
          <p:blipFill>
            <a:blip r:embed="rId2">
              <a:clrChange>
                <a:clrFrom>
                  <a:srgbClr val="FCFFFD"/>
                </a:clrFrom>
                <a:clrTo>
                  <a:srgbClr val="FCFFFD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2" r="75841" b="-21532"/>
            <a:stretch>
              <a:fillRect/>
            </a:stretch>
          </p:blipFill>
          <p:spPr bwMode="auto">
            <a:xfrm>
              <a:off x="3845001" y="1974626"/>
              <a:ext cx="144462" cy="146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36" name="135 Grupo"/>
          <p:cNvGrpSpPr/>
          <p:nvPr/>
        </p:nvGrpSpPr>
        <p:grpSpPr>
          <a:xfrm>
            <a:off x="7514004" y="4444468"/>
            <a:ext cx="255588" cy="240757"/>
            <a:chOff x="3804518" y="2336098"/>
            <a:chExt cx="255588" cy="240757"/>
          </a:xfrm>
        </p:grpSpPr>
        <p:sp>
          <p:nvSpPr>
            <p:cNvPr id="137" name="AutoShape 17"/>
            <p:cNvSpPr>
              <a:spLocks/>
            </p:cNvSpPr>
            <p:nvPr/>
          </p:nvSpPr>
          <p:spPr bwMode="auto">
            <a:xfrm>
              <a:off x="3804518" y="2336098"/>
              <a:ext cx="255588" cy="240757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glow rad="63500">
                <a:schemeClr val="accent3">
                  <a:satMod val="175000"/>
                  <a:alpha val="40000"/>
                </a:schemeClr>
              </a:glow>
            </a:effectLst>
            <a:scene3d>
              <a:camera prst="orthographicFront"/>
              <a:lightRig rig="threePt" dir="t"/>
            </a:scene3d>
            <a:sp3d>
              <a:bevelT/>
            </a:sp3d>
            <a:extLst/>
          </p:spPr>
          <p:txBody>
            <a:bodyPr lIns="0" tIns="0" rIns="0" bIns="0"/>
            <a:lstStyle>
              <a:lvl1pPr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1pPr>
              <a:lvl2pPr marL="37931725" indent="-37474525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2pPr>
              <a:lvl3pPr marL="11430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3pPr>
              <a:lvl4pPr marL="16002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4pPr>
              <a:lvl5pPr marL="20574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ES_tradnl" sz="3085">
                <a:latin typeface="Trebuchet MS" panose="020B0603020202020204" pitchFamily="34" charset="0"/>
                <a:cs typeface="+mn-cs"/>
              </a:endParaRPr>
            </a:p>
          </p:txBody>
        </p:sp>
        <p:pic>
          <p:nvPicPr>
            <p:cNvPr id="138" name="Picture 28"/>
            <p:cNvPicPr>
              <a:picLocks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2472" b="-5261"/>
            <a:stretch>
              <a:fillRect/>
            </a:stretch>
          </p:blipFill>
          <p:spPr bwMode="auto">
            <a:xfrm>
              <a:off x="3891831" y="2389801"/>
              <a:ext cx="90488" cy="133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39" name="138 Grupo"/>
          <p:cNvGrpSpPr/>
          <p:nvPr/>
        </p:nvGrpSpPr>
        <p:grpSpPr>
          <a:xfrm>
            <a:off x="7514004" y="4732500"/>
            <a:ext cx="255588" cy="240757"/>
            <a:chOff x="4788024" y="2752500"/>
            <a:chExt cx="255588" cy="240757"/>
          </a:xfrm>
        </p:grpSpPr>
        <p:sp>
          <p:nvSpPr>
            <p:cNvPr id="140" name="AutoShape 17"/>
            <p:cNvSpPr>
              <a:spLocks/>
            </p:cNvSpPr>
            <p:nvPr/>
          </p:nvSpPr>
          <p:spPr bwMode="auto">
            <a:xfrm>
              <a:off x="4788024" y="2752500"/>
              <a:ext cx="255588" cy="240757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glow rad="63500">
                <a:schemeClr val="accent3">
                  <a:satMod val="175000"/>
                  <a:alpha val="40000"/>
                </a:schemeClr>
              </a:glow>
            </a:effectLst>
            <a:scene3d>
              <a:camera prst="orthographicFront"/>
              <a:lightRig rig="threePt" dir="t"/>
            </a:scene3d>
            <a:sp3d>
              <a:bevelT/>
            </a:sp3d>
            <a:extLst/>
          </p:spPr>
          <p:txBody>
            <a:bodyPr lIns="0" tIns="0" rIns="0" bIns="0"/>
            <a:lstStyle>
              <a:lvl1pPr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1pPr>
              <a:lvl2pPr marL="37931725" indent="-37474525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2pPr>
              <a:lvl3pPr marL="11430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3pPr>
              <a:lvl4pPr marL="16002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4pPr>
              <a:lvl5pPr marL="20574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ES_tradnl" sz="3085">
                <a:latin typeface="Trebuchet MS" panose="020B0603020202020204" pitchFamily="34" charset="0"/>
                <a:cs typeface="+mn-cs"/>
              </a:endParaRPr>
            </a:p>
          </p:txBody>
        </p:sp>
        <p:pic>
          <p:nvPicPr>
            <p:cNvPr id="141" name="Picture 30"/>
            <p:cNvPicPr>
              <a:picLocks noChangeArrowheads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6446"/>
            <a:stretch>
              <a:fillRect/>
            </a:stretch>
          </p:blipFill>
          <p:spPr bwMode="auto">
            <a:xfrm>
              <a:off x="4857875" y="2800336"/>
              <a:ext cx="144463" cy="144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42" name="141 Grupo"/>
          <p:cNvGrpSpPr/>
          <p:nvPr/>
        </p:nvGrpSpPr>
        <p:grpSpPr>
          <a:xfrm>
            <a:off x="7513863" y="5020531"/>
            <a:ext cx="255588" cy="240757"/>
            <a:chOff x="3981524" y="3349996"/>
            <a:chExt cx="255588" cy="240757"/>
          </a:xfrm>
        </p:grpSpPr>
        <p:sp>
          <p:nvSpPr>
            <p:cNvPr id="143" name="AutoShape 17"/>
            <p:cNvSpPr>
              <a:spLocks/>
            </p:cNvSpPr>
            <p:nvPr/>
          </p:nvSpPr>
          <p:spPr bwMode="auto">
            <a:xfrm>
              <a:off x="3981524" y="3349996"/>
              <a:ext cx="255588" cy="240757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glow rad="63500">
                <a:schemeClr val="accent3">
                  <a:satMod val="175000"/>
                  <a:alpha val="40000"/>
                </a:schemeClr>
              </a:glow>
            </a:effectLst>
            <a:scene3d>
              <a:camera prst="orthographicFront"/>
              <a:lightRig rig="threePt" dir="t"/>
            </a:scene3d>
            <a:sp3d>
              <a:bevelT/>
            </a:sp3d>
            <a:extLst/>
          </p:spPr>
          <p:txBody>
            <a:bodyPr lIns="0" tIns="0" rIns="0" bIns="0"/>
            <a:lstStyle>
              <a:lvl1pPr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1pPr>
              <a:lvl2pPr marL="37931725" indent="-37474525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2pPr>
              <a:lvl3pPr marL="11430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3pPr>
              <a:lvl4pPr marL="16002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4pPr>
              <a:lvl5pPr marL="20574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ES_tradnl" sz="3085">
                <a:latin typeface="Trebuchet MS" panose="020B0603020202020204" pitchFamily="34" charset="0"/>
                <a:cs typeface="+mn-cs"/>
              </a:endParaRPr>
            </a:p>
          </p:txBody>
        </p:sp>
        <p:pic>
          <p:nvPicPr>
            <p:cNvPr id="144" name="Picture 29"/>
            <p:cNvPicPr>
              <a:picLocks noChangeArrowheads="1"/>
            </p:cNvPicPr>
            <p:nvPr/>
          </p:nvPicPr>
          <p:blipFill>
            <a:blip r:embed="rId5">
              <a:clrChange>
                <a:clrFrom>
                  <a:srgbClr val="FCFFFF"/>
                </a:clrFrom>
                <a:clrTo>
                  <a:srgbClr val="FC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" r="72684" b="-2158"/>
            <a:stretch>
              <a:fillRect/>
            </a:stretch>
          </p:blipFill>
          <p:spPr bwMode="auto">
            <a:xfrm>
              <a:off x="4040089" y="3385442"/>
              <a:ext cx="142875" cy="1698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45" name="144 Grupo"/>
          <p:cNvGrpSpPr/>
          <p:nvPr/>
        </p:nvGrpSpPr>
        <p:grpSpPr>
          <a:xfrm>
            <a:off x="7518767" y="5308564"/>
            <a:ext cx="255588" cy="240757"/>
            <a:chOff x="4775076" y="3470375"/>
            <a:chExt cx="255588" cy="240757"/>
          </a:xfrm>
        </p:grpSpPr>
        <p:sp>
          <p:nvSpPr>
            <p:cNvPr id="146" name="AutoShape 17"/>
            <p:cNvSpPr>
              <a:spLocks/>
            </p:cNvSpPr>
            <p:nvPr/>
          </p:nvSpPr>
          <p:spPr bwMode="auto">
            <a:xfrm>
              <a:off x="4775076" y="3470375"/>
              <a:ext cx="255588" cy="240757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glow rad="63500">
                <a:schemeClr val="accent3">
                  <a:satMod val="175000"/>
                  <a:alpha val="40000"/>
                </a:schemeClr>
              </a:glow>
            </a:effectLst>
            <a:scene3d>
              <a:camera prst="orthographicFront"/>
              <a:lightRig rig="threePt" dir="t"/>
            </a:scene3d>
            <a:sp3d>
              <a:bevelT/>
            </a:sp3d>
            <a:extLst/>
          </p:spPr>
          <p:txBody>
            <a:bodyPr lIns="0" tIns="0" rIns="0" bIns="0"/>
            <a:lstStyle>
              <a:lvl1pPr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1pPr>
              <a:lvl2pPr marL="37931725" indent="-37474525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2pPr>
              <a:lvl3pPr marL="11430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3pPr>
              <a:lvl4pPr marL="16002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4pPr>
              <a:lvl5pPr marL="20574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ES_tradnl" sz="3085">
                <a:latin typeface="Trebuchet MS" panose="020B0603020202020204" pitchFamily="34" charset="0"/>
                <a:cs typeface="+mn-cs"/>
              </a:endParaRPr>
            </a:p>
          </p:txBody>
        </p:sp>
        <p:pic>
          <p:nvPicPr>
            <p:cNvPr id="147" name="Picture 26"/>
            <p:cNvPicPr>
              <a:picLocks noChangeArrowheads="1"/>
            </p:cNvPicPr>
            <p:nvPr/>
          </p:nvPicPr>
          <p:blipFill>
            <a:blip r:embed="rId6">
              <a:clrChange>
                <a:clrFrom>
                  <a:srgbClr val="FAFFFC"/>
                </a:clrFrom>
                <a:clrTo>
                  <a:srgbClr val="FAFF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0000"/>
            <a:stretch>
              <a:fillRect/>
            </a:stretch>
          </p:blipFill>
          <p:spPr bwMode="auto">
            <a:xfrm>
              <a:off x="4833270" y="3514552"/>
              <a:ext cx="173832" cy="142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8" name="AutoShape 17"/>
          <p:cNvSpPr>
            <a:spLocks/>
          </p:cNvSpPr>
          <p:nvPr/>
        </p:nvSpPr>
        <p:spPr bwMode="auto">
          <a:xfrm>
            <a:off x="7826662" y="4156436"/>
            <a:ext cx="864096" cy="240757"/>
          </a:xfrm>
          <a:prstGeom prst="roundRect">
            <a:avLst>
              <a:gd name="adj" fmla="val 18350"/>
            </a:avLst>
          </a:prstGeom>
          <a:solidFill>
            <a:schemeClr val="bg1"/>
          </a:solidFill>
          <a:ln>
            <a:solidFill>
              <a:schemeClr val="tx1"/>
            </a:solidFill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 lIns="0" tIns="0" rIns="0" bIns="0" anchor="ctr"/>
          <a:lstStyle>
            <a:lvl1pPr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1pPr>
            <a:lvl2pPr marL="37931725" indent="-37474525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2pPr>
            <a:lvl3pPr marL="11430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3pPr>
            <a:lvl4pPr marL="16002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4pPr>
            <a:lvl5pPr marL="20574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_tradnl" sz="800" u="none" dirty="0">
                <a:latin typeface="Trebuchet MS" panose="020B0603020202020204" pitchFamily="34" charset="0"/>
              </a:rPr>
              <a:t>TPN + 550min FM</a:t>
            </a:r>
          </a:p>
        </p:txBody>
      </p:sp>
      <p:sp>
        <p:nvSpPr>
          <p:cNvPr id="149" name="AutoShape 17"/>
          <p:cNvSpPr>
            <a:spLocks/>
          </p:cNvSpPr>
          <p:nvPr/>
        </p:nvSpPr>
        <p:spPr bwMode="auto">
          <a:xfrm>
            <a:off x="7826662" y="4444468"/>
            <a:ext cx="864096" cy="240757"/>
          </a:xfrm>
          <a:prstGeom prst="roundRect">
            <a:avLst>
              <a:gd name="adj" fmla="val 18350"/>
            </a:avLst>
          </a:prstGeom>
          <a:solidFill>
            <a:schemeClr val="bg1"/>
          </a:solidFill>
          <a:ln>
            <a:solidFill>
              <a:schemeClr val="tx1"/>
            </a:solidFill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 lIns="0" tIns="0" rIns="0" bIns="0" anchor="ctr"/>
          <a:lstStyle>
            <a:lvl1pPr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1pPr>
            <a:lvl2pPr marL="37931725" indent="-37474525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2pPr>
            <a:lvl3pPr marL="11430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3pPr>
            <a:lvl4pPr marL="16002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4pPr>
            <a:lvl5pPr marL="20574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_tradnl" sz="1000" u="none" dirty="0">
                <a:latin typeface="Trebuchet MS" panose="020B0603020202020204" pitchFamily="34" charset="0"/>
              </a:rPr>
              <a:t>Ilimitada</a:t>
            </a:r>
          </a:p>
        </p:txBody>
      </p:sp>
      <p:sp>
        <p:nvSpPr>
          <p:cNvPr id="150" name="AutoShape 17"/>
          <p:cNvSpPr>
            <a:spLocks/>
          </p:cNvSpPr>
          <p:nvPr/>
        </p:nvSpPr>
        <p:spPr bwMode="auto">
          <a:xfrm>
            <a:off x="7826662" y="4732500"/>
            <a:ext cx="864096" cy="240757"/>
          </a:xfrm>
          <a:prstGeom prst="roundRect">
            <a:avLst>
              <a:gd name="adj" fmla="val 18350"/>
            </a:avLst>
          </a:prstGeom>
          <a:solidFill>
            <a:schemeClr val="bg1"/>
          </a:solidFill>
          <a:ln>
            <a:solidFill>
              <a:schemeClr val="tx1"/>
            </a:solidFill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 lIns="0" tIns="0" rIns="0" bIns="0" anchor="ctr"/>
          <a:lstStyle>
            <a:lvl1pPr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1pPr>
            <a:lvl2pPr marL="37931725" indent="-37474525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2pPr>
            <a:lvl3pPr marL="11430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3pPr>
            <a:lvl4pPr marL="16002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4pPr>
            <a:lvl5pPr marL="20574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_tradnl" sz="1000" u="none" dirty="0">
                <a:latin typeface="Trebuchet MS" panose="020B0603020202020204" pitchFamily="34" charset="0"/>
              </a:rPr>
              <a:t>1 GB</a:t>
            </a:r>
          </a:p>
        </p:txBody>
      </p:sp>
      <p:sp>
        <p:nvSpPr>
          <p:cNvPr id="151" name="AutoShape 17"/>
          <p:cNvSpPr>
            <a:spLocks/>
          </p:cNvSpPr>
          <p:nvPr/>
        </p:nvSpPr>
        <p:spPr bwMode="auto">
          <a:xfrm>
            <a:off x="7826662" y="5020532"/>
            <a:ext cx="864096" cy="240757"/>
          </a:xfrm>
          <a:prstGeom prst="roundRect">
            <a:avLst>
              <a:gd name="adj" fmla="val 18350"/>
            </a:avLst>
          </a:prstGeom>
          <a:solidFill>
            <a:schemeClr val="bg1"/>
          </a:solidFill>
          <a:ln>
            <a:solidFill>
              <a:schemeClr val="tx1"/>
            </a:solidFill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 lIns="0" tIns="0" rIns="0" bIns="0" anchor="ctr"/>
          <a:lstStyle>
            <a:lvl1pPr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1pPr>
            <a:lvl2pPr marL="37931725" indent="-37474525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2pPr>
            <a:lvl3pPr marL="11430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3pPr>
            <a:lvl4pPr marL="16002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4pPr>
            <a:lvl5pPr marL="20574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_tradnl" sz="1000" u="none" dirty="0" smtClean="0">
                <a:latin typeface="Trebuchet MS" panose="020B0603020202020204" pitchFamily="34" charset="0"/>
                <a:cs typeface="+mn-cs"/>
              </a:rPr>
              <a:t>100 Mb</a:t>
            </a:r>
            <a:endParaRPr lang="es-ES_tradnl" sz="1000" u="none" dirty="0">
              <a:latin typeface="Trebuchet MS" panose="020B0603020202020204" pitchFamily="34" charset="0"/>
              <a:cs typeface="+mn-cs"/>
            </a:endParaRPr>
          </a:p>
        </p:txBody>
      </p:sp>
      <p:sp>
        <p:nvSpPr>
          <p:cNvPr id="152" name="AutoShape 17"/>
          <p:cNvSpPr>
            <a:spLocks/>
          </p:cNvSpPr>
          <p:nvPr/>
        </p:nvSpPr>
        <p:spPr bwMode="auto">
          <a:xfrm>
            <a:off x="7826662" y="5308565"/>
            <a:ext cx="864096" cy="505856"/>
          </a:xfrm>
          <a:prstGeom prst="roundRect">
            <a:avLst>
              <a:gd name="adj" fmla="val 18350"/>
            </a:avLst>
          </a:prstGeom>
          <a:solidFill>
            <a:schemeClr val="bg1"/>
          </a:solidFill>
          <a:ln>
            <a:solidFill>
              <a:schemeClr val="tx1"/>
            </a:solidFill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 lIns="0" tIns="0" rIns="0" bIns="0" anchor="ctr"/>
          <a:lstStyle>
            <a:lvl1pPr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1pPr>
            <a:lvl2pPr marL="37931725" indent="-37474525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2pPr>
            <a:lvl3pPr marL="11430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3pPr>
            <a:lvl4pPr marL="16002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4pPr>
            <a:lvl5pPr marL="20574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9pPr>
          </a:lstStyle>
          <a:p>
            <a:pPr lvl="0">
              <a:defRPr/>
            </a:pPr>
            <a:r>
              <a:rPr lang="es-ES_tradnl" sz="1400" b="1" u="none" dirty="0">
                <a:solidFill>
                  <a:srgbClr val="003245"/>
                </a:solidFill>
                <a:latin typeface="Trebuchet MS" panose="020B0603020202020204" pitchFamily="34" charset="0"/>
                <a:ea typeface="ヒラギノ角ゴ ProN W3"/>
              </a:rPr>
              <a:t>Total</a:t>
            </a:r>
          </a:p>
          <a:p>
            <a:pPr lvl="0">
              <a:defRPr/>
            </a:pPr>
            <a:r>
              <a:rPr lang="es-ES_tradnl" sz="800" u="none" dirty="0">
                <a:solidFill>
                  <a:srgbClr val="003245"/>
                </a:solidFill>
                <a:latin typeface="Trebuchet MS" panose="020B0603020202020204" pitchFamily="34" charset="0"/>
                <a:ea typeface="ヒラギノ角ゴ ProN W3"/>
              </a:rPr>
              <a:t>Grabaciones</a:t>
            </a:r>
          </a:p>
          <a:p>
            <a:pPr lvl="0">
              <a:defRPr/>
            </a:pPr>
            <a:r>
              <a:rPr lang="es-ES_tradnl" sz="800" u="none" dirty="0">
                <a:solidFill>
                  <a:srgbClr val="003245"/>
                </a:solidFill>
                <a:latin typeface="Trebuchet MS" panose="020B0603020202020204" pitchFamily="34" charset="0"/>
                <a:ea typeface="ヒラギノ角ゴ ProN W3"/>
              </a:rPr>
              <a:t>Multipantallla</a:t>
            </a:r>
          </a:p>
        </p:txBody>
      </p:sp>
      <p:sp>
        <p:nvSpPr>
          <p:cNvPr id="153" name="AutoShape 91"/>
          <p:cNvSpPr>
            <a:spLocks/>
          </p:cNvSpPr>
          <p:nvPr/>
        </p:nvSpPr>
        <p:spPr bwMode="auto">
          <a:xfrm>
            <a:off x="7641798" y="5860239"/>
            <a:ext cx="976952" cy="330384"/>
          </a:xfrm>
          <a:prstGeom prst="roundRect">
            <a:avLst>
              <a:gd name="adj" fmla="val 30809"/>
            </a:avLst>
          </a:prstGeom>
          <a:gradFill flip="none" rotWithShape="1">
            <a:gsLst>
              <a:gs pos="0">
                <a:srgbClr val="003245">
                  <a:shade val="30000"/>
                  <a:satMod val="115000"/>
                </a:srgbClr>
              </a:gs>
              <a:gs pos="50000">
                <a:srgbClr val="003245">
                  <a:shade val="67500"/>
                  <a:satMod val="115000"/>
                </a:srgbClr>
              </a:gs>
              <a:gs pos="100000">
                <a:srgbClr val="003245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glow rad="63500">
              <a:srgbClr val="4BACC6">
                <a:satMod val="175000"/>
                <a:alpha val="40000"/>
              </a:srgbClr>
            </a:glow>
          </a:effectLst>
          <a:extLst/>
        </p:spPr>
        <p:txBody>
          <a:bodyPr lIns="0" tIns="0" rIns="0" bIns="0" anchor="ctr"/>
          <a:lstStyle/>
          <a:p>
            <a:pPr algn="ctr"/>
            <a:r>
              <a:rPr lang="es-ES" sz="1600" b="1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/>
                <a:ea typeface="ヒラギノ角ゴ ProN W3" charset="-128"/>
                <a:cs typeface="Arial" panose="020B0604020202020204" pitchFamily="34" charset="0"/>
              </a:rPr>
              <a:t>107€</a:t>
            </a:r>
            <a:endParaRPr lang="es-ES" sz="1600" b="1" kern="0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rebuchet MS"/>
              <a:ea typeface="ヒラギノ角ゴ ProN W3" charset="-128"/>
              <a:cs typeface="Arial" panose="020B0604020202020204" pitchFamily="34" charset="0"/>
            </a:endParaRPr>
          </a:p>
        </p:txBody>
      </p:sp>
      <p:sp>
        <p:nvSpPr>
          <p:cNvPr id="154" name="AutoShape 17"/>
          <p:cNvSpPr>
            <a:spLocks/>
          </p:cNvSpPr>
          <p:nvPr/>
        </p:nvSpPr>
        <p:spPr bwMode="auto">
          <a:xfrm>
            <a:off x="5370006" y="2548088"/>
            <a:ext cx="864096" cy="506320"/>
          </a:xfrm>
          <a:prstGeom prst="roundRect">
            <a:avLst>
              <a:gd name="adj" fmla="val 18350"/>
            </a:avLst>
          </a:prstGeom>
          <a:solidFill>
            <a:schemeClr val="bg1"/>
          </a:solidFill>
          <a:ln>
            <a:solidFill>
              <a:schemeClr val="tx1"/>
            </a:solidFill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 lIns="0" tIns="0" rIns="0" bIns="0" anchor="ctr"/>
          <a:lstStyle>
            <a:lvl1pPr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1pPr>
            <a:lvl2pPr marL="37931725" indent="-37474525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2pPr>
            <a:lvl3pPr marL="11430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3pPr>
            <a:lvl4pPr marL="16002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4pPr>
            <a:lvl5pPr marL="20574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9pPr>
          </a:lstStyle>
          <a:p>
            <a:pPr lvl="0">
              <a:defRPr/>
            </a:pPr>
            <a:r>
              <a:rPr lang="es-ES_tradnl" sz="1200" b="1" u="none" dirty="0" smtClean="0">
                <a:solidFill>
                  <a:srgbClr val="003245"/>
                </a:solidFill>
                <a:latin typeface="Trebuchet MS" panose="020B0603020202020204" pitchFamily="34" charset="0"/>
                <a:ea typeface="ヒラギノ角ゴ ProN W3"/>
              </a:rPr>
              <a:t>Energía </a:t>
            </a:r>
            <a:r>
              <a:rPr lang="es-ES_tradnl" sz="800" u="none" dirty="0" smtClean="0">
                <a:solidFill>
                  <a:srgbClr val="003245"/>
                </a:solidFill>
                <a:latin typeface="Trebuchet MS" panose="020B0603020202020204" pitchFamily="34" charset="0"/>
                <a:ea typeface="ヒラギノ角ゴ ProN W3"/>
              </a:rPr>
              <a:t>Grabaciones</a:t>
            </a:r>
            <a:endParaRPr lang="es-ES_tradnl" sz="800" u="none" dirty="0">
              <a:solidFill>
                <a:srgbClr val="003245"/>
              </a:solidFill>
              <a:latin typeface="Trebuchet MS" panose="020B0603020202020204" pitchFamily="34" charset="0"/>
              <a:ea typeface="ヒラギノ角ゴ ProN W3"/>
            </a:endParaRPr>
          </a:p>
          <a:p>
            <a:pPr lvl="0">
              <a:defRPr/>
            </a:pPr>
            <a:r>
              <a:rPr lang="es-ES_tradnl" sz="800" u="none" dirty="0">
                <a:solidFill>
                  <a:srgbClr val="003245"/>
                </a:solidFill>
                <a:latin typeface="Trebuchet MS" panose="020B0603020202020204" pitchFamily="34" charset="0"/>
                <a:ea typeface="ヒラギノ角ゴ ProN W3"/>
              </a:rPr>
              <a:t>Multipantallla</a:t>
            </a:r>
          </a:p>
        </p:txBody>
      </p:sp>
      <p:sp>
        <p:nvSpPr>
          <p:cNvPr id="155" name="AutoShape 17"/>
          <p:cNvSpPr>
            <a:spLocks/>
          </p:cNvSpPr>
          <p:nvPr/>
        </p:nvSpPr>
        <p:spPr bwMode="auto">
          <a:xfrm>
            <a:off x="6306110" y="2542884"/>
            <a:ext cx="864096" cy="506320"/>
          </a:xfrm>
          <a:prstGeom prst="roundRect">
            <a:avLst>
              <a:gd name="adj" fmla="val 18350"/>
            </a:avLst>
          </a:prstGeom>
          <a:solidFill>
            <a:schemeClr val="bg1"/>
          </a:solidFill>
          <a:ln>
            <a:solidFill>
              <a:schemeClr val="tx1"/>
            </a:solidFill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 lIns="0" tIns="0" rIns="0" bIns="0" anchor="ctr"/>
          <a:lstStyle>
            <a:lvl1pPr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1pPr>
            <a:lvl2pPr marL="37931725" indent="-37474525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2pPr>
            <a:lvl3pPr marL="11430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3pPr>
            <a:lvl4pPr marL="16002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4pPr>
            <a:lvl5pPr marL="20574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9pPr>
          </a:lstStyle>
          <a:p>
            <a:pPr lvl="0">
              <a:defRPr/>
            </a:pPr>
            <a:r>
              <a:rPr lang="es-ES_tradnl" sz="1200" b="1" u="none" dirty="0" smtClean="0">
                <a:solidFill>
                  <a:srgbClr val="003245"/>
                </a:solidFill>
                <a:latin typeface="Trebuchet MS" panose="020B0603020202020204" pitchFamily="34" charset="0"/>
                <a:ea typeface="ヒラギノ角ゴ ProN W3"/>
              </a:rPr>
              <a:t>Fútbol </a:t>
            </a:r>
            <a:r>
              <a:rPr lang="es-ES_tradnl" sz="800" u="none" dirty="0">
                <a:solidFill>
                  <a:schemeClr val="tx1"/>
                </a:solidFill>
                <a:latin typeface="Trebuchet MS" panose="020B0603020202020204" pitchFamily="34" charset="0"/>
                <a:ea typeface="ヒラギノ角ゴ ProN W3"/>
              </a:rPr>
              <a:t>Grabaciones</a:t>
            </a:r>
          </a:p>
          <a:p>
            <a:pPr lvl="0">
              <a:defRPr/>
            </a:pPr>
            <a:r>
              <a:rPr lang="es-ES_tradnl" sz="800" u="none" dirty="0">
                <a:solidFill>
                  <a:srgbClr val="003245"/>
                </a:solidFill>
                <a:latin typeface="Trebuchet MS" panose="020B0603020202020204" pitchFamily="34" charset="0"/>
                <a:ea typeface="ヒラギノ角ゴ ProN W3"/>
              </a:rPr>
              <a:t>Multipantallla</a:t>
            </a:r>
          </a:p>
        </p:txBody>
      </p:sp>
      <p:sp>
        <p:nvSpPr>
          <p:cNvPr id="156" name="155 Rectángulo redondeado"/>
          <p:cNvSpPr/>
          <p:nvPr/>
        </p:nvSpPr>
        <p:spPr bwMode="auto">
          <a:xfrm>
            <a:off x="4073862" y="4069962"/>
            <a:ext cx="3230698" cy="1945068"/>
          </a:xfrm>
          <a:prstGeom prst="roundRect">
            <a:avLst>
              <a:gd name="adj" fmla="val 11446"/>
            </a:avLst>
          </a:prstGeom>
          <a:solidFill>
            <a:schemeClr val="accent1">
              <a:lumMod val="90000"/>
              <a:lumOff val="1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" sz="2000" b="0" i="0" u="none" strike="noStrike" cap="none" normalizeH="0" baseline="0" dirty="0">
              <a:ln>
                <a:noFill/>
              </a:ln>
              <a:solidFill>
                <a:schemeClr val="bg2"/>
              </a:solidFill>
              <a:effectLst/>
              <a:latin typeface="Trebuchet MS" panose="020B0603020202020204" pitchFamily="34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grpSp>
        <p:nvGrpSpPr>
          <p:cNvPr id="157" name="156 Grupo"/>
          <p:cNvGrpSpPr/>
          <p:nvPr/>
        </p:nvGrpSpPr>
        <p:grpSpPr>
          <a:xfrm>
            <a:off x="4121244" y="4141970"/>
            <a:ext cx="255588" cy="240757"/>
            <a:chOff x="3779912" y="1912712"/>
            <a:chExt cx="255588" cy="240757"/>
          </a:xfrm>
        </p:grpSpPr>
        <p:sp>
          <p:nvSpPr>
            <p:cNvPr id="158" name="AutoShape 17"/>
            <p:cNvSpPr>
              <a:spLocks/>
            </p:cNvSpPr>
            <p:nvPr/>
          </p:nvSpPr>
          <p:spPr bwMode="auto">
            <a:xfrm>
              <a:off x="3779912" y="1912712"/>
              <a:ext cx="255588" cy="240757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glow rad="63500">
                <a:schemeClr val="accent3">
                  <a:satMod val="175000"/>
                  <a:alpha val="40000"/>
                </a:schemeClr>
              </a:glow>
            </a:effectLst>
            <a:scene3d>
              <a:camera prst="orthographicFront"/>
              <a:lightRig rig="threePt" dir="t"/>
            </a:scene3d>
            <a:sp3d>
              <a:bevelT/>
            </a:sp3d>
            <a:extLst/>
          </p:spPr>
          <p:txBody>
            <a:bodyPr lIns="0" tIns="0" rIns="0" bIns="0"/>
            <a:lstStyle>
              <a:lvl1pPr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1pPr>
              <a:lvl2pPr marL="37931725" indent="-37474525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2pPr>
              <a:lvl3pPr marL="11430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3pPr>
              <a:lvl4pPr marL="16002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4pPr>
              <a:lvl5pPr marL="20574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ES_tradnl" sz="3085">
                <a:latin typeface="Trebuchet MS" panose="020B0603020202020204" pitchFamily="34" charset="0"/>
                <a:cs typeface="+mn-cs"/>
              </a:endParaRPr>
            </a:p>
          </p:txBody>
        </p:sp>
        <p:pic>
          <p:nvPicPr>
            <p:cNvPr id="159" name="Picture 27"/>
            <p:cNvPicPr>
              <a:picLocks noChangeArrowheads="1"/>
            </p:cNvPicPr>
            <p:nvPr/>
          </p:nvPicPr>
          <p:blipFill>
            <a:blip r:embed="rId2">
              <a:clrChange>
                <a:clrFrom>
                  <a:srgbClr val="FCFFFD"/>
                </a:clrFrom>
                <a:clrTo>
                  <a:srgbClr val="FCFFFD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2" r="75841" b="-21532"/>
            <a:stretch>
              <a:fillRect/>
            </a:stretch>
          </p:blipFill>
          <p:spPr bwMode="auto">
            <a:xfrm>
              <a:off x="3845001" y="1974626"/>
              <a:ext cx="144462" cy="146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60" name="159 Grupo"/>
          <p:cNvGrpSpPr/>
          <p:nvPr/>
        </p:nvGrpSpPr>
        <p:grpSpPr>
          <a:xfrm>
            <a:off x="4121244" y="4430002"/>
            <a:ext cx="255588" cy="240757"/>
            <a:chOff x="3804518" y="2336098"/>
            <a:chExt cx="255588" cy="240757"/>
          </a:xfrm>
        </p:grpSpPr>
        <p:sp>
          <p:nvSpPr>
            <p:cNvPr id="161" name="AutoShape 17"/>
            <p:cNvSpPr>
              <a:spLocks/>
            </p:cNvSpPr>
            <p:nvPr/>
          </p:nvSpPr>
          <p:spPr bwMode="auto">
            <a:xfrm>
              <a:off x="3804518" y="2336098"/>
              <a:ext cx="255588" cy="240757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glow rad="63500">
                <a:schemeClr val="accent3">
                  <a:satMod val="175000"/>
                  <a:alpha val="40000"/>
                </a:schemeClr>
              </a:glow>
            </a:effectLst>
            <a:scene3d>
              <a:camera prst="orthographicFront"/>
              <a:lightRig rig="threePt" dir="t"/>
            </a:scene3d>
            <a:sp3d>
              <a:bevelT/>
            </a:sp3d>
            <a:extLst/>
          </p:spPr>
          <p:txBody>
            <a:bodyPr lIns="0" tIns="0" rIns="0" bIns="0"/>
            <a:lstStyle>
              <a:lvl1pPr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1pPr>
              <a:lvl2pPr marL="37931725" indent="-37474525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2pPr>
              <a:lvl3pPr marL="11430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3pPr>
              <a:lvl4pPr marL="16002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4pPr>
              <a:lvl5pPr marL="20574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ES_tradnl" sz="3085">
                <a:latin typeface="Trebuchet MS" panose="020B0603020202020204" pitchFamily="34" charset="0"/>
                <a:cs typeface="+mn-cs"/>
              </a:endParaRPr>
            </a:p>
          </p:txBody>
        </p:sp>
        <p:pic>
          <p:nvPicPr>
            <p:cNvPr id="162" name="Picture 28"/>
            <p:cNvPicPr>
              <a:picLocks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2472" b="-5261"/>
            <a:stretch>
              <a:fillRect/>
            </a:stretch>
          </p:blipFill>
          <p:spPr bwMode="auto">
            <a:xfrm>
              <a:off x="3891831" y="2389801"/>
              <a:ext cx="90488" cy="133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63" name="162 Grupo"/>
          <p:cNvGrpSpPr/>
          <p:nvPr/>
        </p:nvGrpSpPr>
        <p:grpSpPr>
          <a:xfrm>
            <a:off x="4121244" y="4718034"/>
            <a:ext cx="255588" cy="240757"/>
            <a:chOff x="4788024" y="2752500"/>
            <a:chExt cx="255588" cy="240757"/>
          </a:xfrm>
        </p:grpSpPr>
        <p:sp>
          <p:nvSpPr>
            <p:cNvPr id="164" name="AutoShape 17"/>
            <p:cNvSpPr>
              <a:spLocks/>
            </p:cNvSpPr>
            <p:nvPr/>
          </p:nvSpPr>
          <p:spPr bwMode="auto">
            <a:xfrm>
              <a:off x="4788024" y="2752500"/>
              <a:ext cx="255588" cy="240757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glow rad="63500">
                <a:schemeClr val="accent3">
                  <a:satMod val="175000"/>
                  <a:alpha val="40000"/>
                </a:schemeClr>
              </a:glow>
            </a:effectLst>
            <a:scene3d>
              <a:camera prst="orthographicFront"/>
              <a:lightRig rig="threePt" dir="t"/>
            </a:scene3d>
            <a:sp3d>
              <a:bevelT/>
            </a:sp3d>
            <a:extLst/>
          </p:spPr>
          <p:txBody>
            <a:bodyPr lIns="0" tIns="0" rIns="0" bIns="0"/>
            <a:lstStyle>
              <a:lvl1pPr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1pPr>
              <a:lvl2pPr marL="37931725" indent="-37474525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2pPr>
              <a:lvl3pPr marL="11430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3pPr>
              <a:lvl4pPr marL="16002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4pPr>
              <a:lvl5pPr marL="20574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ES_tradnl" sz="3085">
                <a:latin typeface="Trebuchet MS" panose="020B0603020202020204" pitchFamily="34" charset="0"/>
                <a:cs typeface="+mn-cs"/>
              </a:endParaRPr>
            </a:p>
          </p:txBody>
        </p:sp>
        <p:pic>
          <p:nvPicPr>
            <p:cNvPr id="165" name="Picture 30"/>
            <p:cNvPicPr>
              <a:picLocks noChangeArrowheads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6446"/>
            <a:stretch>
              <a:fillRect/>
            </a:stretch>
          </p:blipFill>
          <p:spPr bwMode="auto">
            <a:xfrm>
              <a:off x="4857875" y="2800336"/>
              <a:ext cx="144463" cy="144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66" name="165 Grupo"/>
          <p:cNvGrpSpPr/>
          <p:nvPr/>
        </p:nvGrpSpPr>
        <p:grpSpPr>
          <a:xfrm>
            <a:off x="4121103" y="5006065"/>
            <a:ext cx="255588" cy="240757"/>
            <a:chOff x="3981524" y="3349996"/>
            <a:chExt cx="255588" cy="240757"/>
          </a:xfrm>
        </p:grpSpPr>
        <p:sp>
          <p:nvSpPr>
            <p:cNvPr id="167" name="AutoShape 17"/>
            <p:cNvSpPr>
              <a:spLocks/>
            </p:cNvSpPr>
            <p:nvPr/>
          </p:nvSpPr>
          <p:spPr bwMode="auto">
            <a:xfrm>
              <a:off x="3981524" y="3349996"/>
              <a:ext cx="255588" cy="240757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glow rad="63500">
                <a:schemeClr val="accent3">
                  <a:satMod val="175000"/>
                  <a:alpha val="40000"/>
                </a:schemeClr>
              </a:glow>
            </a:effectLst>
            <a:scene3d>
              <a:camera prst="orthographicFront"/>
              <a:lightRig rig="threePt" dir="t"/>
            </a:scene3d>
            <a:sp3d>
              <a:bevelT/>
            </a:sp3d>
            <a:extLst/>
          </p:spPr>
          <p:txBody>
            <a:bodyPr lIns="0" tIns="0" rIns="0" bIns="0"/>
            <a:lstStyle>
              <a:lvl1pPr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1pPr>
              <a:lvl2pPr marL="37931725" indent="-37474525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2pPr>
              <a:lvl3pPr marL="11430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3pPr>
              <a:lvl4pPr marL="16002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4pPr>
              <a:lvl5pPr marL="20574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ES_tradnl" sz="3085">
                <a:latin typeface="Trebuchet MS" panose="020B0603020202020204" pitchFamily="34" charset="0"/>
                <a:cs typeface="+mn-cs"/>
              </a:endParaRPr>
            </a:p>
          </p:txBody>
        </p:sp>
        <p:pic>
          <p:nvPicPr>
            <p:cNvPr id="168" name="Picture 29"/>
            <p:cNvPicPr>
              <a:picLocks noChangeArrowheads="1"/>
            </p:cNvPicPr>
            <p:nvPr/>
          </p:nvPicPr>
          <p:blipFill>
            <a:blip r:embed="rId5">
              <a:clrChange>
                <a:clrFrom>
                  <a:srgbClr val="FCFFFF"/>
                </a:clrFrom>
                <a:clrTo>
                  <a:srgbClr val="FC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" r="72684" b="-2158"/>
            <a:stretch>
              <a:fillRect/>
            </a:stretch>
          </p:blipFill>
          <p:spPr bwMode="auto">
            <a:xfrm>
              <a:off x="4040089" y="3385442"/>
              <a:ext cx="142875" cy="1698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69" name="168 Grupo"/>
          <p:cNvGrpSpPr/>
          <p:nvPr/>
        </p:nvGrpSpPr>
        <p:grpSpPr>
          <a:xfrm>
            <a:off x="4126007" y="5294098"/>
            <a:ext cx="255588" cy="240757"/>
            <a:chOff x="4775076" y="3470375"/>
            <a:chExt cx="255588" cy="240757"/>
          </a:xfrm>
        </p:grpSpPr>
        <p:sp>
          <p:nvSpPr>
            <p:cNvPr id="170" name="AutoShape 17"/>
            <p:cNvSpPr>
              <a:spLocks/>
            </p:cNvSpPr>
            <p:nvPr/>
          </p:nvSpPr>
          <p:spPr bwMode="auto">
            <a:xfrm>
              <a:off x="4775076" y="3470375"/>
              <a:ext cx="255588" cy="240757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glow rad="63500">
                <a:schemeClr val="accent3">
                  <a:satMod val="175000"/>
                  <a:alpha val="40000"/>
                </a:schemeClr>
              </a:glow>
            </a:effectLst>
            <a:scene3d>
              <a:camera prst="orthographicFront"/>
              <a:lightRig rig="threePt" dir="t"/>
            </a:scene3d>
            <a:sp3d>
              <a:bevelT/>
            </a:sp3d>
            <a:extLst/>
          </p:spPr>
          <p:txBody>
            <a:bodyPr lIns="0" tIns="0" rIns="0" bIns="0"/>
            <a:lstStyle>
              <a:lvl1pPr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1pPr>
              <a:lvl2pPr marL="37931725" indent="-37474525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2pPr>
              <a:lvl3pPr marL="11430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3pPr>
              <a:lvl4pPr marL="16002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4pPr>
              <a:lvl5pPr marL="2057400" indent="-228600" algn="ctr"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u="sng">
                  <a:solidFill>
                    <a:srgbClr val="000000"/>
                  </a:solidFill>
                  <a:latin typeface="Arial" panose="020B0604020202020204" pitchFamily="34" charset="0"/>
                  <a:ea typeface="ヒラギノ角ゴ ProN W3" pitchFamily="-84" charset="-128"/>
                  <a:sym typeface="Arial" panose="020B0604020202020204" pitchFamily="34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ES_tradnl" sz="3085">
                <a:latin typeface="Trebuchet MS" panose="020B0603020202020204" pitchFamily="34" charset="0"/>
                <a:cs typeface="+mn-cs"/>
              </a:endParaRPr>
            </a:p>
          </p:txBody>
        </p:sp>
        <p:pic>
          <p:nvPicPr>
            <p:cNvPr id="171" name="Picture 26"/>
            <p:cNvPicPr>
              <a:picLocks noChangeArrowheads="1"/>
            </p:cNvPicPr>
            <p:nvPr/>
          </p:nvPicPr>
          <p:blipFill>
            <a:blip r:embed="rId6">
              <a:clrChange>
                <a:clrFrom>
                  <a:srgbClr val="FAFFFC"/>
                </a:clrFrom>
                <a:clrTo>
                  <a:srgbClr val="FAFF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0000"/>
            <a:stretch>
              <a:fillRect/>
            </a:stretch>
          </p:blipFill>
          <p:spPr bwMode="auto">
            <a:xfrm>
              <a:off x="4833270" y="3514552"/>
              <a:ext cx="173832" cy="142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72" name="AutoShape 17"/>
          <p:cNvSpPr>
            <a:spLocks/>
          </p:cNvSpPr>
          <p:nvPr/>
        </p:nvSpPr>
        <p:spPr bwMode="auto">
          <a:xfrm>
            <a:off x="4433902" y="4141970"/>
            <a:ext cx="2726642" cy="242558"/>
          </a:xfrm>
          <a:prstGeom prst="roundRect">
            <a:avLst>
              <a:gd name="adj" fmla="val 18350"/>
            </a:avLst>
          </a:prstGeom>
          <a:solidFill>
            <a:schemeClr val="bg1"/>
          </a:solidFill>
          <a:ln>
            <a:solidFill>
              <a:schemeClr val="tx1"/>
            </a:solidFill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 lIns="0" tIns="0" rIns="0" bIns="0" anchor="ctr"/>
          <a:lstStyle>
            <a:lvl1pPr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1pPr>
            <a:lvl2pPr marL="37931725" indent="-37474525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2pPr>
            <a:lvl3pPr marL="11430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3pPr>
            <a:lvl4pPr marL="16002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4pPr>
            <a:lvl5pPr marL="20574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_tradnl" sz="1000" u="none" dirty="0">
                <a:latin typeface="Trebuchet MS" panose="020B0603020202020204" pitchFamily="34" charset="0"/>
              </a:rPr>
              <a:t>TPN + 550min FM</a:t>
            </a:r>
          </a:p>
        </p:txBody>
      </p:sp>
      <p:sp>
        <p:nvSpPr>
          <p:cNvPr id="173" name="AutoShape 17"/>
          <p:cNvSpPr>
            <a:spLocks/>
          </p:cNvSpPr>
          <p:nvPr/>
        </p:nvSpPr>
        <p:spPr bwMode="auto">
          <a:xfrm>
            <a:off x="4433902" y="4430002"/>
            <a:ext cx="2726642" cy="240757"/>
          </a:xfrm>
          <a:prstGeom prst="roundRect">
            <a:avLst>
              <a:gd name="adj" fmla="val 18350"/>
            </a:avLst>
          </a:prstGeom>
          <a:solidFill>
            <a:schemeClr val="bg1"/>
          </a:solidFill>
          <a:ln>
            <a:solidFill>
              <a:schemeClr val="tx1"/>
            </a:solidFill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 lIns="0" tIns="0" rIns="0" bIns="0" anchor="ctr"/>
          <a:lstStyle>
            <a:lvl1pPr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1pPr>
            <a:lvl2pPr marL="37931725" indent="-37474525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2pPr>
            <a:lvl3pPr marL="11430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3pPr>
            <a:lvl4pPr marL="16002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4pPr>
            <a:lvl5pPr marL="20574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_tradnl" sz="1000" u="none" dirty="0">
                <a:latin typeface="Trebuchet MS" panose="020B0603020202020204" pitchFamily="34" charset="0"/>
              </a:rPr>
              <a:t>Ilimitada</a:t>
            </a:r>
          </a:p>
        </p:txBody>
      </p:sp>
      <p:sp>
        <p:nvSpPr>
          <p:cNvPr id="174" name="AutoShape 17"/>
          <p:cNvSpPr>
            <a:spLocks/>
          </p:cNvSpPr>
          <p:nvPr/>
        </p:nvSpPr>
        <p:spPr bwMode="auto">
          <a:xfrm>
            <a:off x="4433902" y="4718034"/>
            <a:ext cx="2726642" cy="243021"/>
          </a:xfrm>
          <a:prstGeom prst="roundRect">
            <a:avLst>
              <a:gd name="adj" fmla="val 18350"/>
            </a:avLst>
          </a:prstGeom>
          <a:solidFill>
            <a:schemeClr val="bg1"/>
          </a:solidFill>
          <a:ln>
            <a:solidFill>
              <a:schemeClr val="tx1"/>
            </a:solidFill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 lIns="0" tIns="0" rIns="0" bIns="0" anchor="ctr"/>
          <a:lstStyle>
            <a:lvl1pPr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1pPr>
            <a:lvl2pPr marL="37931725" indent="-37474525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2pPr>
            <a:lvl3pPr marL="11430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3pPr>
            <a:lvl4pPr marL="16002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4pPr>
            <a:lvl5pPr marL="20574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_tradnl" sz="1000" u="none" dirty="0">
                <a:latin typeface="Trebuchet MS" panose="020B0603020202020204" pitchFamily="34" charset="0"/>
              </a:rPr>
              <a:t>1 GB</a:t>
            </a:r>
          </a:p>
        </p:txBody>
      </p:sp>
      <p:sp>
        <p:nvSpPr>
          <p:cNvPr id="175" name="AutoShape 17"/>
          <p:cNvSpPr>
            <a:spLocks/>
          </p:cNvSpPr>
          <p:nvPr/>
        </p:nvSpPr>
        <p:spPr bwMode="auto">
          <a:xfrm>
            <a:off x="4433902" y="5006066"/>
            <a:ext cx="2726642" cy="243021"/>
          </a:xfrm>
          <a:prstGeom prst="roundRect">
            <a:avLst>
              <a:gd name="adj" fmla="val 18350"/>
            </a:avLst>
          </a:prstGeom>
          <a:solidFill>
            <a:schemeClr val="bg1"/>
          </a:solidFill>
          <a:ln>
            <a:solidFill>
              <a:schemeClr val="tx1"/>
            </a:solidFill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 lIns="0" tIns="0" rIns="0" bIns="0" anchor="ctr"/>
          <a:lstStyle>
            <a:lvl1pPr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1pPr>
            <a:lvl2pPr marL="37931725" indent="-37474525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2pPr>
            <a:lvl3pPr marL="11430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3pPr>
            <a:lvl4pPr marL="16002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4pPr>
            <a:lvl5pPr marL="20574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_tradnl" sz="1000" u="none" dirty="0" smtClean="0">
                <a:latin typeface="Trebuchet MS" panose="020B0603020202020204" pitchFamily="34" charset="0"/>
                <a:cs typeface="+mn-cs"/>
              </a:rPr>
              <a:t>100 Mb</a:t>
            </a:r>
            <a:endParaRPr lang="es-ES_tradnl" sz="1000" u="none" dirty="0">
              <a:latin typeface="Trebuchet MS" panose="020B0603020202020204" pitchFamily="34" charset="0"/>
              <a:cs typeface="+mn-cs"/>
            </a:endParaRPr>
          </a:p>
        </p:txBody>
      </p:sp>
      <p:sp>
        <p:nvSpPr>
          <p:cNvPr id="176" name="AutoShape 17"/>
          <p:cNvSpPr>
            <a:spLocks/>
          </p:cNvSpPr>
          <p:nvPr/>
        </p:nvSpPr>
        <p:spPr bwMode="auto">
          <a:xfrm>
            <a:off x="4426425" y="5299309"/>
            <a:ext cx="864096" cy="506320"/>
          </a:xfrm>
          <a:prstGeom prst="roundRect">
            <a:avLst>
              <a:gd name="adj" fmla="val 18350"/>
            </a:avLst>
          </a:prstGeom>
          <a:solidFill>
            <a:schemeClr val="bg1"/>
          </a:solidFill>
          <a:ln>
            <a:solidFill>
              <a:schemeClr val="tx1"/>
            </a:solidFill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 lIns="0" tIns="0" rIns="0" bIns="0" anchor="ctr"/>
          <a:lstStyle>
            <a:lvl1pPr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1pPr>
            <a:lvl2pPr marL="37931725" indent="-37474525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2pPr>
            <a:lvl3pPr marL="11430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3pPr>
            <a:lvl4pPr marL="16002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4pPr>
            <a:lvl5pPr marL="20574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9pPr>
          </a:lstStyle>
          <a:p>
            <a:pPr lvl="0">
              <a:defRPr/>
            </a:pPr>
            <a:r>
              <a:rPr lang="es-ES_tradnl" sz="1200" b="1" u="none" dirty="0">
                <a:solidFill>
                  <a:srgbClr val="003245"/>
                </a:solidFill>
                <a:latin typeface="Trebuchet MS" panose="020B0603020202020204" pitchFamily="34" charset="0"/>
                <a:ea typeface="ヒラギノ角ゴ ProN W3"/>
              </a:rPr>
              <a:t>Para Todos </a:t>
            </a:r>
            <a:r>
              <a:rPr lang="es-ES_tradnl" sz="800" u="none" dirty="0">
                <a:solidFill>
                  <a:schemeClr val="tx1"/>
                </a:solidFill>
                <a:latin typeface="Trebuchet MS" panose="020B0603020202020204" pitchFamily="34" charset="0"/>
                <a:ea typeface="ヒラギノ角ゴ ProN W3"/>
              </a:rPr>
              <a:t>Grabaciones</a:t>
            </a:r>
          </a:p>
          <a:p>
            <a:pPr lvl="0">
              <a:defRPr/>
            </a:pPr>
            <a:r>
              <a:rPr lang="es-ES_tradnl" sz="800" u="none" dirty="0">
                <a:solidFill>
                  <a:srgbClr val="003245"/>
                </a:solidFill>
                <a:latin typeface="Trebuchet MS" panose="020B0603020202020204" pitchFamily="34" charset="0"/>
                <a:ea typeface="ヒラギノ角ゴ ProN W3"/>
              </a:rPr>
              <a:t>Multipantallla</a:t>
            </a:r>
          </a:p>
        </p:txBody>
      </p:sp>
      <p:sp>
        <p:nvSpPr>
          <p:cNvPr id="177" name="AutoShape 17"/>
          <p:cNvSpPr>
            <a:spLocks/>
          </p:cNvSpPr>
          <p:nvPr/>
        </p:nvSpPr>
        <p:spPr bwMode="auto">
          <a:xfrm>
            <a:off x="5360344" y="5299309"/>
            <a:ext cx="864096" cy="506320"/>
          </a:xfrm>
          <a:prstGeom prst="roundRect">
            <a:avLst>
              <a:gd name="adj" fmla="val 18350"/>
            </a:avLst>
          </a:prstGeom>
          <a:solidFill>
            <a:schemeClr val="bg1"/>
          </a:solidFill>
          <a:ln>
            <a:solidFill>
              <a:schemeClr val="tx1"/>
            </a:solidFill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 lIns="0" tIns="0" rIns="0" bIns="0" anchor="ctr"/>
          <a:lstStyle>
            <a:lvl1pPr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1pPr>
            <a:lvl2pPr marL="37931725" indent="-37474525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2pPr>
            <a:lvl3pPr marL="11430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3pPr>
            <a:lvl4pPr marL="16002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4pPr>
            <a:lvl5pPr marL="20574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9pPr>
          </a:lstStyle>
          <a:p>
            <a:pPr lvl="0">
              <a:defRPr/>
            </a:pPr>
            <a:r>
              <a:rPr lang="es-ES_tradnl" sz="1200" b="1" u="none" dirty="0">
                <a:solidFill>
                  <a:srgbClr val="003245"/>
                </a:solidFill>
                <a:latin typeface="Trebuchet MS" panose="020B0603020202020204" pitchFamily="34" charset="0"/>
                <a:ea typeface="ヒラギノ角ゴ ProN W3"/>
              </a:rPr>
              <a:t>Energía </a:t>
            </a:r>
            <a:r>
              <a:rPr lang="es-ES_tradnl" sz="800" u="none" dirty="0">
                <a:solidFill>
                  <a:srgbClr val="003245"/>
                </a:solidFill>
                <a:latin typeface="Trebuchet MS" panose="020B0603020202020204" pitchFamily="34" charset="0"/>
                <a:ea typeface="ヒラギノ角ゴ ProN W3"/>
              </a:rPr>
              <a:t>Grabaciones</a:t>
            </a:r>
          </a:p>
          <a:p>
            <a:pPr lvl="0">
              <a:defRPr/>
            </a:pPr>
            <a:r>
              <a:rPr lang="es-ES_tradnl" sz="800" u="none" dirty="0">
                <a:solidFill>
                  <a:srgbClr val="003245"/>
                </a:solidFill>
                <a:latin typeface="Trebuchet MS" panose="020B0603020202020204" pitchFamily="34" charset="0"/>
                <a:ea typeface="ヒラギノ角ゴ ProN W3"/>
              </a:rPr>
              <a:t>Multipantallla</a:t>
            </a:r>
          </a:p>
        </p:txBody>
      </p:sp>
      <p:sp>
        <p:nvSpPr>
          <p:cNvPr id="178" name="AutoShape 17"/>
          <p:cNvSpPr>
            <a:spLocks/>
          </p:cNvSpPr>
          <p:nvPr/>
        </p:nvSpPr>
        <p:spPr bwMode="auto">
          <a:xfrm>
            <a:off x="6296448" y="5294105"/>
            <a:ext cx="864096" cy="506320"/>
          </a:xfrm>
          <a:prstGeom prst="roundRect">
            <a:avLst>
              <a:gd name="adj" fmla="val 18350"/>
            </a:avLst>
          </a:prstGeom>
          <a:solidFill>
            <a:schemeClr val="bg1"/>
          </a:solidFill>
          <a:ln>
            <a:solidFill>
              <a:schemeClr val="tx1"/>
            </a:solidFill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 lIns="0" tIns="0" rIns="0" bIns="0" anchor="ctr"/>
          <a:lstStyle>
            <a:lvl1pPr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1pPr>
            <a:lvl2pPr marL="37931725" indent="-37474525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2pPr>
            <a:lvl3pPr marL="11430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3pPr>
            <a:lvl4pPr marL="16002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4pPr>
            <a:lvl5pPr marL="2057400" indent="-228600" algn="ctr"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-84" charset="-128"/>
                <a:sym typeface="Arial" panose="020B0604020202020204" pitchFamily="34" charset="0"/>
              </a:defRPr>
            </a:lvl9pPr>
          </a:lstStyle>
          <a:p>
            <a:pPr lvl="0">
              <a:defRPr/>
            </a:pPr>
            <a:r>
              <a:rPr lang="es-ES_tradnl" sz="1200" b="1" u="none" dirty="0">
                <a:solidFill>
                  <a:srgbClr val="003245"/>
                </a:solidFill>
                <a:latin typeface="Trebuchet MS" panose="020B0603020202020204" pitchFamily="34" charset="0"/>
                <a:ea typeface="ヒラギノ角ゴ ProN W3"/>
              </a:rPr>
              <a:t>Fútbol </a:t>
            </a:r>
            <a:r>
              <a:rPr lang="es-ES_tradnl" sz="800" u="none" dirty="0">
                <a:solidFill>
                  <a:schemeClr val="tx1"/>
                </a:solidFill>
                <a:latin typeface="Trebuchet MS" panose="020B0603020202020204" pitchFamily="34" charset="0"/>
                <a:ea typeface="ヒラギノ角ゴ ProN W3"/>
              </a:rPr>
              <a:t>Grabaciones</a:t>
            </a:r>
          </a:p>
          <a:p>
            <a:pPr lvl="0">
              <a:defRPr/>
            </a:pPr>
            <a:r>
              <a:rPr lang="es-ES_tradnl" sz="800" u="none" dirty="0">
                <a:solidFill>
                  <a:srgbClr val="003245"/>
                </a:solidFill>
                <a:latin typeface="Trebuchet MS" panose="020B0603020202020204" pitchFamily="34" charset="0"/>
                <a:ea typeface="ヒラギノ角ゴ ProN W3"/>
              </a:rPr>
              <a:t>Multipantallla</a:t>
            </a:r>
          </a:p>
        </p:txBody>
      </p:sp>
      <p:sp>
        <p:nvSpPr>
          <p:cNvPr id="179" name="AutoShape 91"/>
          <p:cNvSpPr>
            <a:spLocks/>
          </p:cNvSpPr>
          <p:nvPr/>
        </p:nvSpPr>
        <p:spPr bwMode="auto">
          <a:xfrm>
            <a:off x="5377483" y="3098617"/>
            <a:ext cx="856619" cy="330384"/>
          </a:xfrm>
          <a:prstGeom prst="roundRect">
            <a:avLst>
              <a:gd name="adj" fmla="val 30809"/>
            </a:avLst>
          </a:prstGeom>
          <a:gradFill flip="none" rotWithShape="1">
            <a:gsLst>
              <a:gs pos="0">
                <a:srgbClr val="003245">
                  <a:shade val="30000"/>
                  <a:satMod val="115000"/>
                </a:srgbClr>
              </a:gs>
              <a:gs pos="50000">
                <a:srgbClr val="003245">
                  <a:shade val="67500"/>
                  <a:satMod val="115000"/>
                </a:srgbClr>
              </a:gs>
              <a:gs pos="100000">
                <a:srgbClr val="003245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glow rad="63500">
              <a:srgbClr val="4BACC6">
                <a:satMod val="175000"/>
                <a:alpha val="40000"/>
              </a:srgbClr>
            </a:glow>
          </a:effectLst>
          <a:extLst/>
        </p:spPr>
        <p:txBody>
          <a:bodyPr lIns="0" tIns="0" rIns="0" bIns="0" anchor="ctr"/>
          <a:lstStyle/>
          <a:p>
            <a:pPr algn="ctr"/>
            <a:r>
              <a:rPr lang="es-ES" sz="1600" b="1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/>
                <a:ea typeface="ヒラギノ角ゴ ProN W3" charset="-128"/>
                <a:cs typeface="Arial" panose="020B0604020202020204" pitchFamily="34" charset="0"/>
              </a:rPr>
              <a:t>68€</a:t>
            </a:r>
            <a:endParaRPr lang="es-ES" sz="1600" b="1" kern="0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rebuchet MS"/>
              <a:ea typeface="ヒラギノ角ゴ ProN W3" charset="-128"/>
              <a:cs typeface="Arial" panose="020B0604020202020204" pitchFamily="34" charset="0"/>
            </a:endParaRPr>
          </a:p>
        </p:txBody>
      </p:sp>
      <p:sp>
        <p:nvSpPr>
          <p:cNvPr id="180" name="AutoShape 91"/>
          <p:cNvSpPr>
            <a:spLocks/>
          </p:cNvSpPr>
          <p:nvPr/>
        </p:nvSpPr>
        <p:spPr bwMode="auto">
          <a:xfrm>
            <a:off x="6313587" y="3098617"/>
            <a:ext cx="856619" cy="330384"/>
          </a:xfrm>
          <a:prstGeom prst="roundRect">
            <a:avLst>
              <a:gd name="adj" fmla="val 30809"/>
            </a:avLst>
          </a:prstGeom>
          <a:gradFill flip="none" rotWithShape="1">
            <a:gsLst>
              <a:gs pos="0">
                <a:srgbClr val="003245">
                  <a:shade val="30000"/>
                  <a:satMod val="115000"/>
                </a:srgbClr>
              </a:gs>
              <a:gs pos="50000">
                <a:srgbClr val="003245">
                  <a:shade val="67500"/>
                  <a:satMod val="115000"/>
                </a:srgbClr>
              </a:gs>
              <a:gs pos="100000">
                <a:srgbClr val="003245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glow rad="63500">
              <a:srgbClr val="4BACC6">
                <a:satMod val="175000"/>
                <a:alpha val="40000"/>
              </a:srgbClr>
            </a:glow>
          </a:effectLst>
          <a:extLst/>
        </p:spPr>
        <p:txBody>
          <a:bodyPr lIns="0" tIns="0" rIns="0" bIns="0" anchor="ctr"/>
          <a:lstStyle/>
          <a:p>
            <a:pPr algn="ctr"/>
            <a:r>
              <a:rPr lang="es-ES" sz="1600" b="1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/>
                <a:ea typeface="ヒラギノ角ゴ ProN W3" charset="-128"/>
                <a:cs typeface="Arial" panose="020B0604020202020204" pitchFamily="34" charset="0"/>
              </a:rPr>
              <a:t>75€</a:t>
            </a:r>
            <a:endParaRPr lang="es-ES" sz="1600" b="1" kern="0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rebuchet MS"/>
              <a:ea typeface="ヒラギノ角ゴ ProN W3" charset="-128"/>
              <a:cs typeface="Arial" panose="020B0604020202020204" pitchFamily="34" charset="0"/>
            </a:endParaRPr>
          </a:p>
        </p:txBody>
      </p:sp>
      <p:sp>
        <p:nvSpPr>
          <p:cNvPr id="181" name="AutoShape 91"/>
          <p:cNvSpPr>
            <a:spLocks/>
          </p:cNvSpPr>
          <p:nvPr/>
        </p:nvSpPr>
        <p:spPr bwMode="auto">
          <a:xfrm>
            <a:off x="4433902" y="5870966"/>
            <a:ext cx="856619" cy="330384"/>
          </a:xfrm>
          <a:prstGeom prst="roundRect">
            <a:avLst>
              <a:gd name="adj" fmla="val 30809"/>
            </a:avLst>
          </a:prstGeom>
          <a:gradFill flip="none" rotWithShape="1">
            <a:gsLst>
              <a:gs pos="0">
                <a:srgbClr val="003245">
                  <a:shade val="30000"/>
                  <a:satMod val="115000"/>
                </a:srgbClr>
              </a:gs>
              <a:gs pos="50000">
                <a:srgbClr val="003245">
                  <a:shade val="67500"/>
                  <a:satMod val="115000"/>
                </a:srgbClr>
              </a:gs>
              <a:gs pos="100000">
                <a:srgbClr val="003245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glow rad="63500">
              <a:srgbClr val="4BACC6">
                <a:satMod val="175000"/>
                <a:alpha val="40000"/>
              </a:srgbClr>
            </a:glow>
          </a:effectLst>
          <a:extLst/>
        </p:spPr>
        <p:txBody>
          <a:bodyPr lIns="0" tIns="0" rIns="0" bIns="0" anchor="ctr"/>
          <a:lstStyle/>
          <a:p>
            <a:pPr algn="ctr"/>
            <a:r>
              <a:rPr lang="es-ES" sz="1600" b="1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/>
                <a:ea typeface="ヒラギノ角ゴ ProN W3" charset="-128"/>
                <a:cs typeface="Arial" panose="020B0604020202020204" pitchFamily="34" charset="0"/>
              </a:rPr>
              <a:t>72€</a:t>
            </a:r>
            <a:endParaRPr lang="es-ES" sz="1600" b="1" kern="0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rebuchet MS"/>
              <a:ea typeface="ヒラギノ角ゴ ProN W3" charset="-128"/>
              <a:cs typeface="Arial" panose="020B0604020202020204" pitchFamily="34" charset="0"/>
            </a:endParaRPr>
          </a:p>
        </p:txBody>
      </p:sp>
      <p:sp>
        <p:nvSpPr>
          <p:cNvPr id="182" name="AutoShape 91"/>
          <p:cNvSpPr>
            <a:spLocks/>
          </p:cNvSpPr>
          <p:nvPr/>
        </p:nvSpPr>
        <p:spPr bwMode="auto">
          <a:xfrm>
            <a:off x="5367821" y="5875031"/>
            <a:ext cx="856619" cy="330384"/>
          </a:xfrm>
          <a:prstGeom prst="roundRect">
            <a:avLst>
              <a:gd name="adj" fmla="val 30809"/>
            </a:avLst>
          </a:prstGeom>
          <a:gradFill flip="none" rotWithShape="1">
            <a:gsLst>
              <a:gs pos="0">
                <a:srgbClr val="003245">
                  <a:shade val="30000"/>
                  <a:satMod val="115000"/>
                </a:srgbClr>
              </a:gs>
              <a:gs pos="50000">
                <a:srgbClr val="003245">
                  <a:shade val="67500"/>
                  <a:satMod val="115000"/>
                </a:srgbClr>
              </a:gs>
              <a:gs pos="100000">
                <a:srgbClr val="003245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glow rad="63500">
              <a:srgbClr val="4BACC6">
                <a:satMod val="175000"/>
                <a:alpha val="40000"/>
              </a:srgbClr>
            </a:glow>
          </a:effectLst>
          <a:extLst/>
        </p:spPr>
        <p:txBody>
          <a:bodyPr lIns="0" tIns="0" rIns="0" bIns="0" anchor="ctr"/>
          <a:lstStyle/>
          <a:p>
            <a:pPr algn="ctr"/>
            <a:r>
              <a:rPr lang="es-ES" sz="1600" b="1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/>
                <a:ea typeface="ヒラギノ角ゴ ProN W3" charset="-128"/>
                <a:cs typeface="Arial" panose="020B0604020202020204" pitchFamily="34" charset="0"/>
              </a:rPr>
              <a:t>80€</a:t>
            </a:r>
            <a:endParaRPr lang="es-ES" sz="1600" b="1" kern="0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rebuchet MS"/>
              <a:ea typeface="ヒラギノ角ゴ ProN W3" charset="-128"/>
              <a:cs typeface="Arial" panose="020B0604020202020204" pitchFamily="34" charset="0"/>
            </a:endParaRPr>
          </a:p>
        </p:txBody>
      </p:sp>
      <p:sp>
        <p:nvSpPr>
          <p:cNvPr id="183" name="AutoShape 91"/>
          <p:cNvSpPr>
            <a:spLocks/>
          </p:cNvSpPr>
          <p:nvPr/>
        </p:nvSpPr>
        <p:spPr bwMode="auto">
          <a:xfrm>
            <a:off x="6303925" y="5875031"/>
            <a:ext cx="856619" cy="330384"/>
          </a:xfrm>
          <a:prstGeom prst="roundRect">
            <a:avLst>
              <a:gd name="adj" fmla="val 30809"/>
            </a:avLst>
          </a:prstGeom>
          <a:gradFill flip="none" rotWithShape="1">
            <a:gsLst>
              <a:gs pos="0">
                <a:srgbClr val="003245">
                  <a:shade val="30000"/>
                  <a:satMod val="115000"/>
                </a:srgbClr>
              </a:gs>
              <a:gs pos="50000">
                <a:srgbClr val="003245">
                  <a:shade val="67500"/>
                  <a:satMod val="115000"/>
                </a:srgbClr>
              </a:gs>
              <a:gs pos="100000">
                <a:srgbClr val="003245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glow rad="63500">
              <a:srgbClr val="4BACC6">
                <a:satMod val="175000"/>
                <a:alpha val="40000"/>
              </a:srgbClr>
            </a:glow>
          </a:effectLst>
          <a:extLst/>
        </p:spPr>
        <p:txBody>
          <a:bodyPr lIns="0" tIns="0" rIns="0" bIns="0" anchor="ctr"/>
          <a:lstStyle/>
          <a:p>
            <a:pPr algn="ctr"/>
            <a:r>
              <a:rPr lang="es-ES" sz="1600" b="1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/>
                <a:ea typeface="ヒラギノ角ゴ ProN W3" charset="-128"/>
                <a:cs typeface="Arial" panose="020B0604020202020204" pitchFamily="34" charset="0"/>
              </a:rPr>
              <a:t>87€</a:t>
            </a:r>
            <a:endParaRPr lang="es-ES" sz="1600" b="1" kern="0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rebuchet MS"/>
              <a:ea typeface="ヒラギノ角ゴ ProN W3" charset="-128"/>
              <a:cs typeface="Arial" panose="020B0604020202020204" pitchFamily="34" charset="0"/>
            </a:endParaRPr>
          </a:p>
        </p:txBody>
      </p:sp>
      <p:pic>
        <p:nvPicPr>
          <p:cNvPr id="2" name="1 Imagen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-1279524" y="3498707"/>
            <a:ext cx="3786769" cy="724681"/>
          </a:xfrm>
          <a:prstGeom prst="rect">
            <a:avLst/>
          </a:prstGeom>
        </p:spPr>
      </p:pic>
      <p:sp>
        <p:nvSpPr>
          <p:cNvPr id="195" name="194 Rectángulo redondeado"/>
          <p:cNvSpPr/>
          <p:nvPr/>
        </p:nvSpPr>
        <p:spPr bwMode="auto">
          <a:xfrm>
            <a:off x="2429375" y="3650580"/>
            <a:ext cx="1085152" cy="354484"/>
          </a:xfrm>
          <a:prstGeom prst="roundRect">
            <a:avLst>
              <a:gd name="adj" fmla="val 43738"/>
            </a:avLst>
          </a:prstGeom>
          <a:solidFill>
            <a:schemeClr val="bg1">
              <a:lumMod val="85000"/>
            </a:schemeClr>
          </a:solidFill>
          <a:ln>
            <a:headEnd type="none" w="med" len="med"/>
            <a:tailEnd type="none" w="med" len="med"/>
          </a:ln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sz="1200" b="1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Trebuchet MS" panose="020B0603020202020204" pitchFamily="34" charset="0"/>
                <a:ea typeface="ヒラギノ角ゴ ProN W3" charset="0"/>
                <a:cs typeface="ヒラギノ角ゴ ProN W3" charset="0"/>
                <a:sym typeface="Gill Sans" charset="0"/>
              </a:rPr>
              <a:t>Fusión</a:t>
            </a:r>
            <a:r>
              <a:rPr kumimoji="0" lang="es-ES" sz="1200" b="1" i="0" u="none" strike="noStrike" cap="none" normalizeH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Trebuchet MS" panose="020B0603020202020204" pitchFamily="34" charset="0"/>
                <a:ea typeface="ヒラギノ角ゴ ProN W3" charset="0"/>
                <a:cs typeface="ヒラギノ角ゴ ProN W3" charset="0"/>
                <a:sym typeface="Gill Sans" charset="0"/>
              </a:rPr>
              <a:t> TV Contigo</a:t>
            </a:r>
            <a:endParaRPr kumimoji="0" lang="es-ES" sz="12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Trebuchet MS" panose="020B0603020202020204" pitchFamily="34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96" name="195 Rectángulo redondeado"/>
          <p:cNvSpPr/>
          <p:nvPr/>
        </p:nvSpPr>
        <p:spPr bwMode="auto">
          <a:xfrm>
            <a:off x="4359689" y="3650580"/>
            <a:ext cx="1080310" cy="354484"/>
          </a:xfrm>
          <a:prstGeom prst="roundRect">
            <a:avLst>
              <a:gd name="adj" fmla="val 43738"/>
            </a:avLst>
          </a:prstGeom>
          <a:solidFill>
            <a:schemeClr val="bg1">
              <a:lumMod val="85000"/>
            </a:schemeClr>
          </a:solidFill>
          <a:ln>
            <a:headEnd type="none" w="med" len="med"/>
            <a:tailEnd type="none" w="med" len="med"/>
          </a:ln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sz="1200" b="1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Trebuchet MS" panose="020B0603020202020204" pitchFamily="34" charset="0"/>
                <a:ea typeface="ヒラギノ角ゴ ProN W3" charset="0"/>
                <a:cs typeface="ヒラギノ角ゴ ProN W3" charset="0"/>
                <a:sym typeface="Gill Sans" charset="0"/>
              </a:rPr>
              <a:t>Fusión</a:t>
            </a:r>
            <a:r>
              <a:rPr kumimoji="0" lang="es-ES" sz="1200" b="1" i="0" u="none" strike="noStrike" cap="none" normalizeH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Trebuchet MS" panose="020B0603020202020204" pitchFamily="34" charset="0"/>
                <a:ea typeface="ヒラギノ角ゴ ProN W3" charset="0"/>
                <a:cs typeface="ヒラギノ角ゴ ProN W3" charset="0"/>
                <a:sym typeface="Gill Sans" charset="0"/>
              </a:rPr>
              <a:t> TV Para Todos</a:t>
            </a:r>
            <a:endParaRPr kumimoji="0" lang="es-ES" sz="12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Trebuchet MS" panose="020B0603020202020204" pitchFamily="34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97" name="196 Rectángulo redondeado"/>
          <p:cNvSpPr/>
          <p:nvPr/>
        </p:nvSpPr>
        <p:spPr bwMode="auto">
          <a:xfrm>
            <a:off x="5364088" y="3650580"/>
            <a:ext cx="1080310" cy="354484"/>
          </a:xfrm>
          <a:prstGeom prst="roundRect">
            <a:avLst>
              <a:gd name="adj" fmla="val 43738"/>
            </a:avLst>
          </a:prstGeom>
          <a:solidFill>
            <a:schemeClr val="bg1">
              <a:lumMod val="85000"/>
            </a:schemeClr>
          </a:solidFill>
          <a:ln>
            <a:headEnd type="none" w="med" len="med"/>
            <a:tailEnd type="none" w="med" len="med"/>
          </a:ln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sz="1200" b="1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Trebuchet MS" panose="020B0603020202020204" pitchFamily="34" charset="0"/>
                <a:ea typeface="ヒラギノ角ゴ ProN W3" charset="0"/>
                <a:cs typeface="ヒラギノ角ゴ ProN W3" charset="0"/>
                <a:sym typeface="Gill Sans" charset="0"/>
              </a:rPr>
              <a:t>Fusión</a:t>
            </a:r>
            <a:r>
              <a:rPr kumimoji="0" lang="es-ES" sz="1200" b="1" i="0" u="none" strike="noStrike" cap="none" normalizeH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Trebuchet MS" panose="020B0603020202020204" pitchFamily="34" charset="0"/>
                <a:ea typeface="ヒラギノ角ゴ ProN W3" charset="0"/>
                <a:cs typeface="ヒラギノ角ゴ ProN W3" charset="0"/>
                <a:sym typeface="Gill Sans" charset="0"/>
              </a:rPr>
              <a:t> </a:t>
            </a:r>
            <a:r>
              <a:rPr kumimoji="0" lang="es-ES" sz="1200" b="1" i="0" u="none" strike="noStrike" cap="none" normalizeH="0" smtClean="0">
                <a:ln>
                  <a:noFill/>
                </a:ln>
                <a:solidFill>
                  <a:schemeClr val="accent1"/>
                </a:solidFill>
                <a:effectLst/>
                <a:latin typeface="Trebuchet MS" panose="020B0603020202020204" pitchFamily="34" charset="0"/>
                <a:ea typeface="ヒラギノ角ゴ ProN W3" charset="0"/>
                <a:cs typeface="ヒラギノ角ゴ ProN W3" charset="0"/>
                <a:sym typeface="Gill Sans" charset="0"/>
              </a:rPr>
              <a:t>TV Energía</a:t>
            </a:r>
            <a:endParaRPr kumimoji="0" lang="es-ES" sz="12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Trebuchet MS" panose="020B0603020202020204" pitchFamily="34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98" name="197 Rectángulo redondeado"/>
          <p:cNvSpPr/>
          <p:nvPr/>
        </p:nvSpPr>
        <p:spPr bwMode="auto">
          <a:xfrm>
            <a:off x="6300192" y="3650580"/>
            <a:ext cx="1080310" cy="354484"/>
          </a:xfrm>
          <a:prstGeom prst="roundRect">
            <a:avLst>
              <a:gd name="adj" fmla="val 43738"/>
            </a:avLst>
          </a:prstGeom>
          <a:solidFill>
            <a:schemeClr val="bg1">
              <a:lumMod val="85000"/>
            </a:schemeClr>
          </a:solidFill>
          <a:ln>
            <a:headEnd type="none" w="med" len="med"/>
            <a:tailEnd type="none" w="med" len="med"/>
          </a:ln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sz="1200" b="1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Trebuchet MS" panose="020B0603020202020204" pitchFamily="34" charset="0"/>
                <a:ea typeface="ヒラギノ角ゴ ProN W3" charset="0"/>
                <a:cs typeface="ヒラギノ角ゴ ProN W3" charset="0"/>
                <a:sym typeface="Gill Sans" charset="0"/>
              </a:rPr>
              <a:t>Fusión</a:t>
            </a:r>
            <a:r>
              <a:rPr kumimoji="0" lang="es-ES" sz="1200" b="1" i="0" u="none" strike="noStrike" cap="none" normalizeH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Trebuchet MS" panose="020B0603020202020204" pitchFamily="34" charset="0"/>
                <a:ea typeface="ヒラギノ角ゴ ProN W3" charset="0"/>
                <a:cs typeface="ヒラギノ角ゴ ProN W3" charset="0"/>
                <a:sym typeface="Gill Sans" charset="0"/>
              </a:rPr>
              <a:t> TV Fútbol</a:t>
            </a:r>
            <a:endParaRPr kumimoji="0" lang="es-ES" sz="12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Trebuchet MS" panose="020B0603020202020204" pitchFamily="34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99" name="198 Rectángulo redondeado"/>
          <p:cNvSpPr/>
          <p:nvPr/>
        </p:nvSpPr>
        <p:spPr bwMode="auto">
          <a:xfrm>
            <a:off x="7614067" y="3650580"/>
            <a:ext cx="1032372" cy="354484"/>
          </a:xfrm>
          <a:prstGeom prst="roundRect">
            <a:avLst>
              <a:gd name="adj" fmla="val 43738"/>
            </a:avLst>
          </a:prstGeom>
          <a:solidFill>
            <a:schemeClr val="bg1">
              <a:lumMod val="85000"/>
            </a:schemeClr>
          </a:solidFill>
          <a:ln>
            <a:headEnd type="none" w="med" len="med"/>
            <a:tailEnd type="none" w="med" len="med"/>
          </a:ln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sz="1200" b="1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Trebuchet MS" panose="020B0603020202020204" pitchFamily="34" charset="0"/>
                <a:ea typeface="ヒラギノ角ゴ ProN W3" charset="0"/>
                <a:cs typeface="ヒラギノ角ゴ ProN W3" charset="0"/>
                <a:sym typeface="Gill Sans" charset="0"/>
              </a:rPr>
              <a:t>Fusión</a:t>
            </a:r>
            <a:r>
              <a:rPr kumimoji="0" lang="es-ES" sz="1200" b="1" i="0" u="none" strike="noStrike" cap="none" normalizeH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Trebuchet MS" panose="020B0603020202020204" pitchFamily="34" charset="0"/>
                <a:ea typeface="ヒラギノ角ゴ ProN W3" charset="0"/>
                <a:cs typeface="ヒラギノ角ゴ ProN W3" charset="0"/>
                <a:sym typeface="Gill Sans" charset="0"/>
              </a:rPr>
              <a:t> TV Total</a:t>
            </a:r>
            <a:endParaRPr kumimoji="0" lang="es-ES" sz="12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Trebuchet MS" panose="020B0603020202020204" pitchFamily="34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964342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sX_R8CLEWSIbXeiJTAy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1PcbX0yE6mWNchq0pts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8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PortadaTelefonica">
  <a:themeElements>
    <a:clrScheme name="Telefónica">
      <a:dk1>
        <a:srgbClr val="003245"/>
      </a:dk1>
      <a:lt1>
        <a:srgbClr val="FFFFFF"/>
      </a:lt1>
      <a:dk2>
        <a:srgbClr val="003245"/>
      </a:dk2>
      <a:lt2>
        <a:srgbClr val="FFFFFF"/>
      </a:lt2>
      <a:accent1>
        <a:srgbClr val="003245"/>
      </a:accent1>
      <a:accent2>
        <a:srgbClr val="006476"/>
      </a:accent2>
      <a:accent3>
        <a:srgbClr val="008597"/>
      </a:accent3>
      <a:accent4>
        <a:srgbClr val="0095A7"/>
      </a:accent4>
      <a:accent5>
        <a:srgbClr val="4BACC6"/>
      </a:accent5>
      <a:accent6>
        <a:srgbClr val="00C6DA"/>
      </a:accent6>
      <a:hlink>
        <a:srgbClr val="00C6DA"/>
      </a:hlink>
      <a:folHlink>
        <a:srgbClr val="00C6DA"/>
      </a:folHlink>
    </a:clrScheme>
    <a:fontScheme name="Telefónica">
      <a:majorFont>
        <a:latin typeface="Trebuchet MS"/>
        <a:ea typeface="ヒラギノ角ゴ ProN W3"/>
        <a:cs typeface="ヒラギノ角ゴ ProN W3"/>
      </a:majorFont>
      <a:minorFont>
        <a:latin typeface="Trebuchet M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>
            <a:lumMod val="90000"/>
            <a:lumOff val="10000"/>
          </a:schemeClr>
        </a:solidFill>
        <a:ln w="25400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>
            <a:ln>
              <a:noFill/>
            </a:ln>
            <a:solidFill>
              <a:schemeClr val="bg2"/>
            </a:solidFill>
            <a:effectLst/>
            <a:latin typeface="Trebuchet MS" panose="020B0603020202020204" pitchFamily="34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Título y subtítul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18_Diseño personalizado">
  <a:themeElements>
    <a:clrScheme name="Diseño personalizado 1">
      <a:dk1>
        <a:srgbClr val="123E51"/>
      </a:dk1>
      <a:lt1>
        <a:srgbClr val="FFFFFF"/>
      </a:lt1>
      <a:dk2>
        <a:srgbClr val="00C6D7"/>
      </a:dk2>
      <a:lt2>
        <a:srgbClr val="929292"/>
      </a:lt2>
      <a:accent1>
        <a:srgbClr val="123E51"/>
      </a:accent1>
      <a:accent2>
        <a:srgbClr val="00C6D7"/>
      </a:accent2>
      <a:accent3>
        <a:srgbClr val="FFFFFF"/>
      </a:accent3>
      <a:accent4>
        <a:srgbClr val="0E3444"/>
      </a:accent4>
      <a:accent5>
        <a:srgbClr val="AAAFB3"/>
      </a:accent5>
      <a:accent6>
        <a:srgbClr val="00B3C3"/>
      </a:accent6>
      <a:hlink>
        <a:srgbClr val="D8EDF9"/>
      </a:hlink>
      <a:folHlink>
        <a:srgbClr val="929292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47000">
              <a:schemeClr val="tx1"/>
            </a:gs>
            <a:gs pos="100000">
              <a:schemeClr val="tx1">
                <a:lumMod val="50000"/>
                <a:lumOff val="50000"/>
              </a:schemeClr>
            </a:gs>
          </a:gsLst>
          <a:lin ang="2700000" scaled="0"/>
        </a:gradFill>
        <a:ln w="254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800" b="0" i="0" u="sng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ea typeface="ヒラギノ角ゴ ProN W3" charset="-128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0" i="0" u="sng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ea typeface="ヒラギノ角ゴ ProN W3" charset="-128"/>
            <a:sym typeface="Gill Sans" charset="0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sz="1800" u="none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Diseño personalizado 1">
        <a:dk1>
          <a:srgbClr val="123E51"/>
        </a:dk1>
        <a:lt1>
          <a:srgbClr val="FFFFFF"/>
        </a:lt1>
        <a:dk2>
          <a:srgbClr val="00C6D7"/>
        </a:dk2>
        <a:lt2>
          <a:srgbClr val="929292"/>
        </a:lt2>
        <a:accent1>
          <a:srgbClr val="123E51"/>
        </a:accent1>
        <a:accent2>
          <a:srgbClr val="00C6D7"/>
        </a:accent2>
        <a:accent3>
          <a:srgbClr val="FFFFFF"/>
        </a:accent3>
        <a:accent4>
          <a:srgbClr val="0E3444"/>
        </a:accent4>
        <a:accent5>
          <a:srgbClr val="AAAFB3"/>
        </a:accent5>
        <a:accent6>
          <a:srgbClr val="00B3C3"/>
        </a:accent6>
        <a:hlink>
          <a:srgbClr val="D8EDF9"/>
        </a:hlink>
        <a:folHlink>
          <a:srgbClr val="92929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Diseño personalizado">
  <a:themeElements>
    <a:clrScheme name="Diseño personalizado 1">
      <a:dk1>
        <a:srgbClr val="123E51"/>
      </a:dk1>
      <a:lt1>
        <a:srgbClr val="FFFFFF"/>
      </a:lt1>
      <a:dk2>
        <a:srgbClr val="00C6D7"/>
      </a:dk2>
      <a:lt2>
        <a:srgbClr val="929292"/>
      </a:lt2>
      <a:accent1>
        <a:srgbClr val="123E51"/>
      </a:accent1>
      <a:accent2>
        <a:srgbClr val="00C6D7"/>
      </a:accent2>
      <a:accent3>
        <a:srgbClr val="FFFFFF"/>
      </a:accent3>
      <a:accent4>
        <a:srgbClr val="0E3444"/>
      </a:accent4>
      <a:accent5>
        <a:srgbClr val="AAAFB3"/>
      </a:accent5>
      <a:accent6>
        <a:srgbClr val="00B3C3"/>
      </a:accent6>
      <a:hlink>
        <a:srgbClr val="D8EDF9"/>
      </a:hlink>
      <a:folHlink>
        <a:srgbClr val="929292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47000">
              <a:schemeClr val="tx1"/>
            </a:gs>
            <a:gs pos="100000">
              <a:schemeClr val="tx1">
                <a:lumMod val="50000"/>
                <a:lumOff val="50000"/>
              </a:schemeClr>
            </a:gs>
          </a:gsLst>
          <a:lin ang="2700000" scaled="0"/>
        </a:gradFill>
        <a:ln w="254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800" b="0" i="0" u="sng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ea typeface="ヒラギノ角ゴ ProN W3" charset="-128"/>
            <a:sym typeface="Gill Sans" charset="0"/>
          </a:defRPr>
        </a:defPPr>
      </a:lstStyle>
    </a:spDef>
    <a:lnDef>
      <a:spPr bwMode="auto">
        <a:ln>
          <a:headEnd type="none" w="med" len="med"/>
          <a:tailEnd type="none" w="med" len="med"/>
        </a:ln>
        <a:extLst/>
      </a:spPr>
      <a:bodyPr/>
      <a:lstStyle/>
      <a:style>
        <a:lnRef idx="3">
          <a:schemeClr val="accent2"/>
        </a:lnRef>
        <a:fillRef idx="0">
          <a:schemeClr val="accent2"/>
        </a:fillRef>
        <a:effectRef idx="2">
          <a:schemeClr val="accent2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8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Diseño personalizado 1">
        <a:dk1>
          <a:srgbClr val="123E51"/>
        </a:dk1>
        <a:lt1>
          <a:srgbClr val="FFFFFF"/>
        </a:lt1>
        <a:dk2>
          <a:srgbClr val="00C6D7"/>
        </a:dk2>
        <a:lt2>
          <a:srgbClr val="929292"/>
        </a:lt2>
        <a:accent1>
          <a:srgbClr val="123E51"/>
        </a:accent1>
        <a:accent2>
          <a:srgbClr val="00C6D7"/>
        </a:accent2>
        <a:accent3>
          <a:srgbClr val="FFFFFF"/>
        </a:accent3>
        <a:accent4>
          <a:srgbClr val="0E3444"/>
        </a:accent4>
        <a:accent5>
          <a:srgbClr val="AAAFB3"/>
        </a:accent5>
        <a:accent6>
          <a:srgbClr val="00B3C3"/>
        </a:accent6>
        <a:hlink>
          <a:srgbClr val="D8EDF9"/>
        </a:hlink>
        <a:folHlink>
          <a:srgbClr val="92929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lefónica">
  <a:themeElements>
    <a:clrScheme name="Telefónica">
      <a:dk1>
        <a:srgbClr val="003245"/>
      </a:dk1>
      <a:lt1>
        <a:srgbClr val="FFFFFF"/>
      </a:lt1>
      <a:dk2>
        <a:srgbClr val="003245"/>
      </a:dk2>
      <a:lt2>
        <a:srgbClr val="FFFFFF"/>
      </a:lt2>
      <a:accent1>
        <a:srgbClr val="003245"/>
      </a:accent1>
      <a:accent2>
        <a:srgbClr val="006476"/>
      </a:accent2>
      <a:accent3>
        <a:srgbClr val="008597"/>
      </a:accent3>
      <a:accent4>
        <a:srgbClr val="0095A7"/>
      </a:accent4>
      <a:accent5>
        <a:srgbClr val="4BACC6"/>
      </a:accent5>
      <a:accent6>
        <a:srgbClr val="00C6DA"/>
      </a:accent6>
      <a:hlink>
        <a:srgbClr val="00C6DA"/>
      </a:hlink>
      <a:folHlink>
        <a:srgbClr val="00C6DA"/>
      </a:folHlink>
    </a:clrScheme>
    <a:fontScheme name="Telefónica">
      <a:majorFont>
        <a:latin typeface="Trebuchet MS"/>
        <a:ea typeface="ヒラギノ角ゴ ProN W3"/>
        <a:cs typeface="ヒラギノ角ゴ ProN W3"/>
      </a:majorFont>
      <a:minorFont>
        <a:latin typeface="Trebuchet M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>
            <a:lumMod val="90000"/>
            <a:lumOff val="10000"/>
          </a:schemeClr>
        </a:solidFill>
        <a:ln w="25400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>
            <a:ln>
              <a:noFill/>
            </a:ln>
            <a:solidFill>
              <a:schemeClr val="bg2"/>
            </a:solidFill>
            <a:effectLst/>
            <a:latin typeface="Trebuchet MS" panose="020B0603020202020204" pitchFamily="34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SeparataAzul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elefónica - Título y subtítulo">
  <a:themeElements>
    <a:clrScheme name="Telefónica">
      <a:dk1>
        <a:srgbClr val="003245"/>
      </a:dk1>
      <a:lt1>
        <a:srgbClr val="FFFFFF"/>
      </a:lt1>
      <a:dk2>
        <a:srgbClr val="003245"/>
      </a:dk2>
      <a:lt2>
        <a:srgbClr val="FFFFFF"/>
      </a:lt2>
      <a:accent1>
        <a:srgbClr val="003245"/>
      </a:accent1>
      <a:accent2>
        <a:srgbClr val="006476"/>
      </a:accent2>
      <a:accent3>
        <a:srgbClr val="008597"/>
      </a:accent3>
      <a:accent4>
        <a:srgbClr val="0095A7"/>
      </a:accent4>
      <a:accent5>
        <a:srgbClr val="4BACC6"/>
      </a:accent5>
      <a:accent6>
        <a:srgbClr val="00C6DA"/>
      </a:accent6>
      <a:hlink>
        <a:srgbClr val="00C6DA"/>
      </a:hlink>
      <a:folHlink>
        <a:srgbClr val="00C6DA"/>
      </a:folHlink>
    </a:clrScheme>
    <a:fontScheme name="Telefónica">
      <a:majorFont>
        <a:latin typeface="Trebuchet MS"/>
        <a:ea typeface="ヒラギノ角ゴ ProN W3"/>
        <a:cs typeface="ヒラギノ角ゴ ProN W3"/>
      </a:majorFont>
      <a:minorFont>
        <a:latin typeface="Trebuchet M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>
            <a:lumMod val="90000"/>
            <a:lumOff val="10000"/>
          </a:schemeClr>
        </a:solidFill>
        <a:ln w="25400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>
            <a:ln>
              <a:noFill/>
            </a:ln>
            <a:solidFill>
              <a:schemeClr val="bg2"/>
            </a:solidFill>
            <a:effectLst/>
            <a:latin typeface="Trebuchet MS" panose="020B0603020202020204" pitchFamily="34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Título y subtítul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Telefónica">
  <a:themeElements>
    <a:clrScheme name="Telefónica">
      <a:dk1>
        <a:srgbClr val="003245"/>
      </a:dk1>
      <a:lt1>
        <a:srgbClr val="FFFFFF"/>
      </a:lt1>
      <a:dk2>
        <a:srgbClr val="003245"/>
      </a:dk2>
      <a:lt2>
        <a:srgbClr val="FFFFFF"/>
      </a:lt2>
      <a:accent1>
        <a:srgbClr val="003245"/>
      </a:accent1>
      <a:accent2>
        <a:srgbClr val="006476"/>
      </a:accent2>
      <a:accent3>
        <a:srgbClr val="008597"/>
      </a:accent3>
      <a:accent4>
        <a:srgbClr val="0095A7"/>
      </a:accent4>
      <a:accent5>
        <a:srgbClr val="4BACC6"/>
      </a:accent5>
      <a:accent6>
        <a:srgbClr val="00C6DA"/>
      </a:accent6>
      <a:hlink>
        <a:srgbClr val="00C6DA"/>
      </a:hlink>
      <a:folHlink>
        <a:srgbClr val="00C6DA"/>
      </a:folHlink>
    </a:clrScheme>
    <a:fontScheme name="Telefónica">
      <a:majorFont>
        <a:latin typeface="Trebuchet MS"/>
        <a:ea typeface="ヒラギノ角ゴ ProN W3"/>
        <a:cs typeface="ヒラギノ角ゴ ProN W3"/>
      </a:majorFont>
      <a:minorFont>
        <a:latin typeface="Trebuchet M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>
            <a:lumMod val="90000"/>
            <a:lumOff val="10000"/>
          </a:schemeClr>
        </a:solidFill>
        <a:ln w="25400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>
            <a:ln>
              <a:noFill/>
            </a:ln>
            <a:solidFill>
              <a:schemeClr val="bg2"/>
            </a:solidFill>
            <a:effectLst/>
            <a:latin typeface="Trebuchet MS" panose="020B0603020202020204" pitchFamily="34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SeparataAzul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Telefónica">
  <a:themeElements>
    <a:clrScheme name="Telefónica">
      <a:dk1>
        <a:srgbClr val="003245"/>
      </a:dk1>
      <a:lt1>
        <a:srgbClr val="FFFFFF"/>
      </a:lt1>
      <a:dk2>
        <a:srgbClr val="003245"/>
      </a:dk2>
      <a:lt2>
        <a:srgbClr val="FFFFFF"/>
      </a:lt2>
      <a:accent1>
        <a:srgbClr val="003245"/>
      </a:accent1>
      <a:accent2>
        <a:srgbClr val="006476"/>
      </a:accent2>
      <a:accent3>
        <a:srgbClr val="008597"/>
      </a:accent3>
      <a:accent4>
        <a:srgbClr val="0095A7"/>
      </a:accent4>
      <a:accent5>
        <a:srgbClr val="4BACC6"/>
      </a:accent5>
      <a:accent6>
        <a:srgbClr val="00C6DA"/>
      </a:accent6>
      <a:hlink>
        <a:srgbClr val="00C6DA"/>
      </a:hlink>
      <a:folHlink>
        <a:srgbClr val="00C6DA"/>
      </a:folHlink>
    </a:clrScheme>
    <a:fontScheme name="Telefónica">
      <a:majorFont>
        <a:latin typeface="Trebuchet MS"/>
        <a:ea typeface="ヒラギノ角ゴ ProN W3"/>
        <a:cs typeface="ヒラギノ角ゴ ProN W3"/>
      </a:majorFont>
      <a:minorFont>
        <a:latin typeface="Trebuchet M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>
            <a:lumMod val="90000"/>
            <a:lumOff val="10000"/>
          </a:schemeClr>
        </a:solidFill>
        <a:ln w="25400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>
            <a:ln>
              <a:noFill/>
            </a:ln>
            <a:solidFill>
              <a:schemeClr val="bg2"/>
            </a:solidFill>
            <a:effectLst/>
            <a:latin typeface="Trebuchet MS" panose="020B0603020202020204" pitchFamily="34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SeparataAzul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3_Telefónica">
  <a:themeElements>
    <a:clrScheme name="Telefónica">
      <a:dk1>
        <a:srgbClr val="003245"/>
      </a:dk1>
      <a:lt1>
        <a:srgbClr val="FFFFFF"/>
      </a:lt1>
      <a:dk2>
        <a:srgbClr val="003245"/>
      </a:dk2>
      <a:lt2>
        <a:srgbClr val="FFFFFF"/>
      </a:lt2>
      <a:accent1>
        <a:srgbClr val="003245"/>
      </a:accent1>
      <a:accent2>
        <a:srgbClr val="006476"/>
      </a:accent2>
      <a:accent3>
        <a:srgbClr val="008597"/>
      </a:accent3>
      <a:accent4>
        <a:srgbClr val="0095A7"/>
      </a:accent4>
      <a:accent5>
        <a:srgbClr val="4BACC6"/>
      </a:accent5>
      <a:accent6>
        <a:srgbClr val="00C6DA"/>
      </a:accent6>
      <a:hlink>
        <a:srgbClr val="00C6DA"/>
      </a:hlink>
      <a:folHlink>
        <a:srgbClr val="00C6DA"/>
      </a:folHlink>
    </a:clrScheme>
    <a:fontScheme name="Telefónica">
      <a:majorFont>
        <a:latin typeface="Trebuchet MS"/>
        <a:ea typeface="ヒラギノ角ゴ ProN W3"/>
        <a:cs typeface="ヒラギノ角ゴ ProN W3"/>
      </a:majorFont>
      <a:minorFont>
        <a:latin typeface="Trebuchet M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>
            <a:lumMod val="90000"/>
            <a:lumOff val="10000"/>
          </a:schemeClr>
        </a:solidFill>
        <a:ln w="25400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>
            <a:ln>
              <a:noFill/>
            </a:ln>
            <a:solidFill>
              <a:schemeClr val="bg2"/>
            </a:solidFill>
            <a:effectLst/>
            <a:latin typeface="Trebuchet MS" panose="020B0603020202020204" pitchFamily="34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SeparataAzul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1_Cierre Telefonica">
  <a:themeElements>
    <a:clrScheme name="Telefónica">
      <a:dk1>
        <a:srgbClr val="003245"/>
      </a:dk1>
      <a:lt1>
        <a:srgbClr val="FFFFFF"/>
      </a:lt1>
      <a:dk2>
        <a:srgbClr val="003245"/>
      </a:dk2>
      <a:lt2>
        <a:srgbClr val="FFFFFF"/>
      </a:lt2>
      <a:accent1>
        <a:srgbClr val="003245"/>
      </a:accent1>
      <a:accent2>
        <a:srgbClr val="006476"/>
      </a:accent2>
      <a:accent3>
        <a:srgbClr val="008597"/>
      </a:accent3>
      <a:accent4>
        <a:srgbClr val="0095A7"/>
      </a:accent4>
      <a:accent5>
        <a:srgbClr val="4BACC6"/>
      </a:accent5>
      <a:accent6>
        <a:srgbClr val="00C6DA"/>
      </a:accent6>
      <a:hlink>
        <a:srgbClr val="00C6DA"/>
      </a:hlink>
      <a:folHlink>
        <a:srgbClr val="00C6DA"/>
      </a:folHlink>
    </a:clrScheme>
    <a:fontScheme name="Telefónica">
      <a:majorFont>
        <a:latin typeface="Trebuchet MS"/>
        <a:ea typeface="ヒラギノ角ゴ ProN W3"/>
        <a:cs typeface="ヒラギノ角ゴ ProN W3"/>
      </a:majorFont>
      <a:minorFont>
        <a:latin typeface="Trebuchet M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>
            <a:lumMod val="90000"/>
            <a:lumOff val="10000"/>
          </a:schemeClr>
        </a:solidFill>
        <a:ln w="25400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>
            <a:ln>
              <a:noFill/>
            </a:ln>
            <a:solidFill>
              <a:schemeClr val="bg2"/>
            </a:solidFill>
            <a:effectLst/>
            <a:latin typeface="Trebuchet MS" panose="020B0603020202020204" pitchFamily="34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Título y subtítul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4_Telefónica">
  <a:themeElements>
    <a:clrScheme name="Telefónica">
      <a:dk1>
        <a:srgbClr val="003245"/>
      </a:dk1>
      <a:lt1>
        <a:srgbClr val="FFFFFF"/>
      </a:lt1>
      <a:dk2>
        <a:srgbClr val="003245"/>
      </a:dk2>
      <a:lt2>
        <a:srgbClr val="FFFFFF"/>
      </a:lt2>
      <a:accent1>
        <a:srgbClr val="003245"/>
      </a:accent1>
      <a:accent2>
        <a:srgbClr val="006476"/>
      </a:accent2>
      <a:accent3>
        <a:srgbClr val="008597"/>
      </a:accent3>
      <a:accent4>
        <a:srgbClr val="0095A7"/>
      </a:accent4>
      <a:accent5>
        <a:srgbClr val="4BACC6"/>
      </a:accent5>
      <a:accent6>
        <a:srgbClr val="00C6DA"/>
      </a:accent6>
      <a:hlink>
        <a:srgbClr val="00C6DA"/>
      </a:hlink>
      <a:folHlink>
        <a:srgbClr val="00C6DA"/>
      </a:folHlink>
    </a:clrScheme>
    <a:fontScheme name="Telefónica">
      <a:majorFont>
        <a:latin typeface="Trebuchet MS"/>
        <a:ea typeface="ヒラギノ角ゴ ProN W3"/>
        <a:cs typeface="ヒラギノ角ゴ ProN W3"/>
      </a:majorFont>
      <a:minorFont>
        <a:latin typeface="Trebuchet M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6">
            <a:lumMod val="75000"/>
          </a:schemeClr>
        </a:solidFill>
        <a:ln w="25400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>
            <a:ln>
              <a:noFill/>
            </a:ln>
            <a:solidFill>
              <a:schemeClr val="bg2"/>
            </a:solidFill>
            <a:effectLst/>
            <a:latin typeface="Trebuchet MS" panose="020B0603020202020204" pitchFamily="34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SeparataAzul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3_Diseño personalizado">
  <a:themeElements>
    <a:clrScheme name="Personalizado 55">
      <a:dk1>
        <a:srgbClr val="003245"/>
      </a:dk1>
      <a:lt1>
        <a:srgbClr val="FFFFFF"/>
      </a:lt1>
      <a:dk2>
        <a:srgbClr val="00C6DA"/>
      </a:dk2>
      <a:lt2>
        <a:srgbClr val="007486"/>
      </a:lt2>
      <a:accent1>
        <a:srgbClr val="00B6C7"/>
      </a:accent1>
      <a:accent2>
        <a:srgbClr val="00A5B7"/>
      </a:accent2>
      <a:accent3>
        <a:srgbClr val="0095A7"/>
      </a:accent3>
      <a:accent4>
        <a:srgbClr val="008597"/>
      </a:accent4>
      <a:accent5>
        <a:srgbClr val="004356"/>
      </a:accent5>
      <a:accent6>
        <a:srgbClr val="7AB800"/>
      </a:accent6>
      <a:hlink>
        <a:srgbClr val="00B6C7"/>
      </a:hlink>
      <a:folHlink>
        <a:srgbClr val="BBE0E3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bg1"/>
          </a:solidFill>
          <a:prstDash val="solid"/>
          <a:round/>
          <a:headEnd type="none" w="med" len="med"/>
          <a:tailEnd type="none" w="med" len="med"/>
        </a:ln>
        <a:effectLst>
          <a:outerShdw blurRad="127000" sx="101000" sy="101000" algn="ctr" rotWithShape="0">
            <a:schemeClr val="bg1">
              <a:lumMod val="50000"/>
              <a:alpha val="40000"/>
            </a:schemeClr>
          </a:outerShdw>
        </a:effectLst>
      </a:spPr>
      <a:bodyPr vert="horz" wrap="square" lIns="0" tIns="0" rIns="0" bIns="0" numCol="1" rtlCol="0" anchor="ctr" anchorCtr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11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+mn-lt"/>
            <a:cs typeface="Calibri" pitchFamily="34" charset="0"/>
          </a:defRPr>
        </a:defPPr>
      </a:lstStyle>
    </a:spDef>
    <a:lnDef>
      <a:spPr bwMode="auto">
        <a:noFill/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indent="0">
          <a:lnSpc>
            <a:spcPct val="110000"/>
          </a:lnSpc>
          <a:spcAft>
            <a:spcPts val="200"/>
          </a:spcAft>
          <a:buSzPct val="145000"/>
          <a:buNone/>
          <a:defRPr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Diseño personalizado 1">
        <a:dk1>
          <a:srgbClr val="123E51"/>
        </a:dk1>
        <a:lt1>
          <a:srgbClr val="FFFFFF"/>
        </a:lt1>
        <a:dk2>
          <a:srgbClr val="00C6D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E3444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3</TotalTime>
  <Words>149</Words>
  <Application>Microsoft Office PowerPoint</Application>
  <PresentationFormat>Presentación en pantalla (4:3)</PresentationFormat>
  <Paragraphs>66</Paragraphs>
  <Slides>1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1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</vt:i4>
      </vt:variant>
    </vt:vector>
  </HeadingPairs>
  <TitlesOfParts>
    <vt:vector size="13" baseType="lpstr">
      <vt:lpstr>PortadaTelefonica</vt:lpstr>
      <vt:lpstr>Telefónica</vt:lpstr>
      <vt:lpstr>Telefónica - Título y subtítulo</vt:lpstr>
      <vt:lpstr>1_Telefónica</vt:lpstr>
      <vt:lpstr>2_Telefónica</vt:lpstr>
      <vt:lpstr>3_Telefónica</vt:lpstr>
      <vt:lpstr>1_Cierre Telefonica</vt:lpstr>
      <vt:lpstr>4_Telefónica</vt:lpstr>
      <vt:lpstr>13_Diseño personalizado</vt:lpstr>
      <vt:lpstr>18_Diseño personalizado</vt:lpstr>
      <vt:lpstr>Diseño personalizado</vt:lpstr>
      <vt:lpstr>think-cell Slide</vt:lpstr>
      <vt:lpstr>Presentación de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uadalupe Guisado</dc:creator>
  <cp:lastModifiedBy>Telefonica</cp:lastModifiedBy>
  <cp:revision>251</cp:revision>
  <dcterms:created xsi:type="dcterms:W3CDTF">2013-10-10T14:17:42Z</dcterms:created>
  <dcterms:modified xsi:type="dcterms:W3CDTF">2014-04-25T07:53:32Z</dcterms:modified>
</cp:coreProperties>
</file>